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5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6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7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8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9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10.xml" ContentType="application/vnd.openxmlformats-officedocument.them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11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25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56.xml" ContentType="application/vnd.openxmlformats-officedocument.presentationml.tags+xml"/>
  <Override PartName="/ppt/notesSlides/notesSlide5.xml" ContentType="application/vnd.openxmlformats-officedocument.presentationml.notesSlide+xml"/>
  <Override PartName="/ppt/tags/tag257.xml" ContentType="application/vnd.openxmlformats-officedocument.presentationml.tags+xml"/>
  <Override PartName="/ppt/notesSlides/notesSlide6.xml" ContentType="application/vnd.openxmlformats-officedocument.presentationml.notesSlide+xml"/>
  <Override PartName="/ppt/tags/tag258.xml" ContentType="application/vnd.openxmlformats-officedocument.presentationml.tags+xml"/>
  <Override PartName="/ppt/notesSlides/notesSlide7.xml" ContentType="application/vnd.openxmlformats-officedocument.presentationml.notesSlide+xml"/>
  <Override PartName="/ppt/tags/tag259.xml" ContentType="application/vnd.openxmlformats-officedocument.presentationml.tags+xml"/>
  <Override PartName="/ppt/notesSlides/notesSlide8.xml" ContentType="application/vnd.openxmlformats-officedocument.presentationml.notesSlide+xml"/>
  <Override PartName="/ppt/tags/tag26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836" r:id="rId2"/>
    <p:sldMasterId id="2147483860" r:id="rId3"/>
    <p:sldMasterId id="2147483885" r:id="rId4"/>
    <p:sldMasterId id="2147483911" r:id="rId5"/>
    <p:sldMasterId id="2147483964" r:id="rId6"/>
    <p:sldMasterId id="2147483987" r:id="rId7"/>
    <p:sldMasterId id="2147484013" r:id="rId8"/>
    <p:sldMasterId id="2147484037" r:id="rId9"/>
    <p:sldMasterId id="2147484060" r:id="rId10"/>
    <p:sldMasterId id="2147484090" r:id="rId11"/>
  </p:sldMasterIdLst>
  <p:notesMasterIdLst>
    <p:notesMasterId r:id="rId24"/>
  </p:notesMasterIdLst>
  <p:handoutMasterIdLst>
    <p:handoutMasterId r:id="rId25"/>
  </p:handoutMasterIdLst>
  <p:sldIdLst>
    <p:sldId id="256" r:id="rId12"/>
    <p:sldId id="667" r:id="rId13"/>
    <p:sldId id="708" r:id="rId14"/>
    <p:sldId id="582" r:id="rId15"/>
    <p:sldId id="577" r:id="rId16"/>
    <p:sldId id="585" r:id="rId17"/>
    <p:sldId id="627" r:id="rId18"/>
    <p:sldId id="710" r:id="rId19"/>
    <p:sldId id="707" r:id="rId20"/>
    <p:sldId id="706" r:id="rId21"/>
    <p:sldId id="709" r:id="rId22"/>
    <p:sldId id="576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355D"/>
    <a:srgbClr val="0BB18F"/>
    <a:srgbClr val="1C355E"/>
    <a:srgbClr val="B5C9E9"/>
    <a:srgbClr val="CBD9EF"/>
    <a:srgbClr val="294167"/>
    <a:srgbClr val="3BD4AE"/>
    <a:srgbClr val="BFBFBF"/>
    <a:srgbClr val="5DB781"/>
    <a:srgbClr val="1D36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15" autoAdjust="0"/>
    <p:restoredTop sz="93537" autoAdjust="0"/>
  </p:normalViewPr>
  <p:slideViewPr>
    <p:cSldViewPr snapToGrid="0">
      <p:cViewPr varScale="1">
        <p:scale>
          <a:sx n="62" d="100"/>
          <a:sy n="62" d="100"/>
        </p:scale>
        <p:origin x="632" y="52"/>
      </p:cViewPr>
      <p:guideLst/>
    </p:cSldViewPr>
  </p:slideViewPr>
  <p:outlineViewPr>
    <p:cViewPr>
      <p:scale>
        <a:sx n="33" d="100"/>
        <a:sy n="33" d="100"/>
      </p:scale>
      <p:origin x="0" y="-48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0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A0A83B4C-496A-4960-9110-D94011B7212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E4D3097-495D-4F8D-8980-D28B1FC2842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30690F-22B7-4527-9063-1AAD331753B3}" type="datetimeFigureOut">
              <a:rPr lang="en-GB" smtClean="0"/>
              <a:t>09/04/2024</a:t>
            </a:fld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F4E3989-AF40-4397-8D74-B895C9DF4D5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D56EDB8-AC7C-4C10-9AAA-751B514BFD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1D0E18-DA25-4883-8A7A-6710EAE3CD71}" type="slidenum">
              <a:rPr lang="en-GB" smtClean="0"/>
              <a:t>‹N°›</a:t>
            </a:fld>
            <a:endParaRPr lang="en-GB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6DBD4EA3-945C-4297-B053-3D6D6447CF72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-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6616" y="573249"/>
            <a:ext cx="1064768" cy="357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930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AA39EC-BB58-4350-A311-F1E2A8D522A2}" type="datetimeFigureOut">
              <a:rPr lang="en-GB" smtClean="0"/>
              <a:t>09/04/2024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44DC68-CD0B-4E3C-A083-4421EE028D00}" type="slidenum">
              <a:rPr lang="en-GB" smtClean="0"/>
              <a:t>‹N°›</a:t>
            </a:fld>
            <a:endParaRPr lang="en-GB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3F1F719-7EF1-426B-A6BD-486E68D70E74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-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6616" y="573249"/>
            <a:ext cx="1064768" cy="357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9716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4DC68-CD0B-4E3C-A083-4421EE028D0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7138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4DC68-CD0B-4E3C-A083-4421EE028D00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7335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4DC68-CD0B-4E3C-A083-4421EE028D00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756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4DC68-CD0B-4E3C-A083-4421EE028D00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04439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4DC68-CD0B-4E3C-A083-4421EE028D0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882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89E56C-EE79-9B46-666E-E5EE1CE5B5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2B566B5D-9B23-BCE7-1216-250E850ECF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28F0815A-AE63-6C8D-4AC0-E45BBFD348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EFBC713-A786-6319-6C7B-471FA6F6D4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4DC68-CD0B-4E3C-A083-4421EE028D0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8189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FBD151-05D0-BF7B-31BE-5CE8CC2112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BEA7A5B0-79B3-35AF-0861-2810FFA12C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E91CE995-6C5F-51EB-9484-1DDE9AF7F5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319D4F-49F5-AB86-26F4-169473B0DE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4DC68-CD0B-4E3C-A083-4421EE028D0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87718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4DC68-CD0B-4E3C-A083-4421EE028D0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78457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789BFD-AA73-7367-BD67-E27A88444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0593B964-E814-C46B-2136-11E1C197247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E104837C-29A2-287D-5C48-A7D3FAC4A3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66B2715-4825-4F87-9BFA-D4A43D7418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44DC68-CD0B-4E3C-A083-4421EE028D0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381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9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2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3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6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8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9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0.xml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1.xml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2.xml"/><Relationship Id="rId4" Type="http://schemas.openxmlformats.org/officeDocument/2006/relationships/image" Target="../media/image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3.xml"/><Relationship Id="rId4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4.xml"/><Relationship Id="rId4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2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32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3.xml"/><Relationship Id="rId6" Type="http://schemas.openxmlformats.org/officeDocument/2006/relationships/image" Target="../media/image6.jpeg"/><Relationship Id="rId11" Type="http://schemas.openxmlformats.org/officeDocument/2006/relationships/image" Target="../media/image14.svg"/><Relationship Id="rId5" Type="http://schemas.openxmlformats.org/officeDocument/2006/relationships/image" Target="../media/image5.jpe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svg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33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4.xml"/><Relationship Id="rId6" Type="http://schemas.openxmlformats.org/officeDocument/2006/relationships/image" Target="../media/image6.jpeg"/><Relationship Id="rId11" Type="http://schemas.openxmlformats.org/officeDocument/2006/relationships/image" Target="../media/image14.svg"/><Relationship Id="rId5" Type="http://schemas.openxmlformats.org/officeDocument/2006/relationships/image" Target="../media/image5.jpe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svg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5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6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8.xml"/><Relationship Id="rId4" Type="http://schemas.openxmlformats.org/officeDocument/2006/relationships/image" Target="../media/image1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9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1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2.xml"/><Relationship Id="rId4" Type="http://schemas.openxmlformats.org/officeDocument/2006/relationships/image" Target="../media/image1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3.xml"/><Relationship Id="rId4" Type="http://schemas.openxmlformats.org/officeDocument/2006/relationships/image" Target="../media/image1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4.xml"/><Relationship Id="rId4" Type="http://schemas.openxmlformats.org/officeDocument/2006/relationships/image" Target="../media/image1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5.xml"/><Relationship Id="rId4" Type="http://schemas.openxmlformats.org/officeDocument/2006/relationships/image" Target="../media/image1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6.xml"/><Relationship Id="rId4" Type="http://schemas.openxmlformats.org/officeDocument/2006/relationships/image" Target="../media/image1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7.xml"/><Relationship Id="rId4" Type="http://schemas.openxmlformats.org/officeDocument/2006/relationships/image" Target="../media/image1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8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4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5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8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1.xml"/><Relationship Id="rId4" Type="http://schemas.openxmlformats.org/officeDocument/2006/relationships/image" Target="../media/image1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2.xml"/><Relationship Id="rId4" Type="http://schemas.openxmlformats.org/officeDocument/2006/relationships/image" Target="../media/image1.emf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3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5.xml"/><Relationship Id="rId4" Type="http://schemas.openxmlformats.org/officeDocument/2006/relationships/image" Target="../media/image1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6.xml"/><Relationship Id="rId4" Type="http://schemas.openxmlformats.org/officeDocument/2006/relationships/image" Target="../media/image1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7.xml"/><Relationship Id="rId4" Type="http://schemas.openxmlformats.org/officeDocument/2006/relationships/image" Target="../media/image1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8.xml"/><Relationship Id="rId4" Type="http://schemas.openxmlformats.org/officeDocument/2006/relationships/image" Target="../media/image1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6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0.xml"/><Relationship Id="rId4" Type="http://schemas.openxmlformats.org/officeDocument/2006/relationships/image" Target="../media/image1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1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0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7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8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78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79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1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0.bin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2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4.xml"/><Relationship Id="rId4" Type="http://schemas.openxmlformats.org/officeDocument/2006/relationships/image" Target="../media/image1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5.xml"/><Relationship Id="rId4" Type="http://schemas.openxmlformats.org/officeDocument/2006/relationships/image" Target="../media/image1.emf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7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6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8.xml"/><Relationship Id="rId4" Type="http://schemas.openxmlformats.org/officeDocument/2006/relationships/image" Target="../media/image1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0.xml"/><Relationship Id="rId4" Type="http://schemas.openxmlformats.org/officeDocument/2006/relationships/image" Target="../media/image1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1.xml"/><Relationship Id="rId4" Type="http://schemas.openxmlformats.org/officeDocument/2006/relationships/image" Target="../media/image1.emf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2.xml"/><Relationship Id="rId4" Type="http://schemas.openxmlformats.org/officeDocument/2006/relationships/image" Target="../media/image1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3.xml"/><Relationship Id="rId4" Type="http://schemas.openxmlformats.org/officeDocument/2006/relationships/image" Target="../media/image1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3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0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1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1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2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4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3.bin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5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4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7.xml"/><Relationship Id="rId4" Type="http://schemas.openxmlformats.org/officeDocument/2006/relationships/image" Target="../media/image1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8.xml"/><Relationship Id="rId4" Type="http://schemas.openxmlformats.org/officeDocument/2006/relationships/image" Target="../media/image1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1.xml"/><Relationship Id="rId4" Type="http://schemas.openxmlformats.org/officeDocument/2006/relationships/image" Target="../media/image1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2.xml"/><Relationship Id="rId4" Type="http://schemas.openxmlformats.org/officeDocument/2006/relationships/image" Target="../media/image1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3.xml"/><Relationship Id="rId4" Type="http://schemas.openxmlformats.org/officeDocument/2006/relationships/image" Target="../media/image1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4.xml"/><Relationship Id="rId4" Type="http://schemas.openxmlformats.org/officeDocument/2006/relationships/image" Target="../media/image1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5.xml"/><Relationship Id="rId4" Type="http://schemas.openxmlformats.org/officeDocument/2006/relationships/image" Target="../media/image1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6.xml"/><Relationship Id="rId4" Type="http://schemas.openxmlformats.org/officeDocument/2006/relationships/image" Target="../media/image1.emf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7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3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4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24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25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7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6.bin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8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7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0.xml"/><Relationship Id="rId4" Type="http://schemas.openxmlformats.org/officeDocument/2006/relationships/image" Target="../media/image1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1.xml"/><Relationship Id="rId4" Type="http://schemas.openxmlformats.org/officeDocument/2006/relationships/image" Target="../media/image1.emf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3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2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4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5.xml"/><Relationship Id="rId4" Type="http://schemas.openxmlformats.org/officeDocument/2006/relationships/image" Target="../media/image1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5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6.xml"/><Relationship Id="rId4" Type="http://schemas.openxmlformats.org/officeDocument/2006/relationships/image" Target="../media/image1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7.xml"/><Relationship Id="rId4" Type="http://schemas.openxmlformats.org/officeDocument/2006/relationships/image" Target="../media/image1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7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8.xml"/><Relationship Id="rId4" Type="http://schemas.openxmlformats.org/officeDocument/2006/relationships/image" Target="../media/image1.emf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8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9.xml"/><Relationship Id="rId4" Type="http://schemas.openxmlformats.org/officeDocument/2006/relationships/image" Target="../media/image1.emf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9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0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4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5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6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7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47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48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0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9.bin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1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0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3.xml"/><Relationship Id="rId4" Type="http://schemas.openxmlformats.org/officeDocument/2006/relationships/image" Target="../media/image1.emf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4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63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64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86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87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Relationship Id="rId9" Type="http://schemas.openxmlformats.org/officeDocument/2006/relationships/image" Target="../media/image9.svg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0.jp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2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35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520421846"/>
      </p:ext>
    </p:extLst>
  </p:cSld>
  <p:clrMapOvr>
    <a:masterClrMapping/>
  </p:clrMapOvr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1998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11004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1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11350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12788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US" dirty="0"/>
              <a:t>11.5 cm X 31.5 cm </a:t>
            </a:r>
          </a:p>
          <a:p>
            <a:pPr marL="712788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US" dirty="0"/>
              <a:t>4.5 in X 12.2 in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endParaRPr lang="en-US" dirty="0"/>
          </a:p>
          <a:p>
            <a:pPr lvl="0"/>
            <a:endParaRPr lang="fr-FR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6000" y="1295149"/>
            <a:ext cx="11340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197010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1Graph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1853988"/>
            <a:ext cx="11350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31.5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12.2 in</a:t>
            </a:r>
          </a:p>
          <a:p>
            <a:pPr lvl="0"/>
            <a:endParaRPr lang="fr-FR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6000" y="1145520"/>
            <a:ext cx="11340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416000" y="6090457"/>
            <a:ext cx="11359999" cy="437805"/>
          </a:xfrm>
        </p:spPr>
        <p:txBody>
          <a:bodyPr>
            <a:normAutofit/>
          </a:bodyPr>
          <a:lstStyle>
            <a:lvl1pPr marL="0" indent="0" algn="ctr">
              <a:defRPr lang="en-US" sz="16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lvl="0"/>
            <a:r>
              <a:rPr lang="fr-FR" dirty="0"/>
              <a:t>Key </a:t>
            </a:r>
            <a:r>
              <a:rPr lang="fr-FR" dirty="0" err="1"/>
              <a:t>takeawa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804097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1Graph +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1295149"/>
            <a:ext cx="5472000" cy="493806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295149"/>
            <a:ext cx="5472000" cy="612000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defRPr sz="1200" b="1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31587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2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1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2093213"/>
            <a:ext cx="5472000" cy="414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 dirty="0"/>
              <a:t>Graph 2 placeholder</a:t>
            </a:r>
          </a:p>
          <a:p>
            <a:pPr lvl="1"/>
            <a:r>
              <a:rPr lang="en-US" dirty="0"/>
              <a:t>Recommended size</a:t>
            </a:r>
          </a:p>
          <a:p>
            <a:pPr lvl="2"/>
            <a:r>
              <a:rPr lang="en-US" dirty="0"/>
              <a:t>11.5 cm X 15.2 cm</a:t>
            </a:r>
          </a:p>
          <a:p>
            <a:pPr lvl="2"/>
            <a:r>
              <a:rPr lang="en-US" dirty="0"/>
              <a:t>4.5 in X 6 i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295149"/>
            <a:ext cx="5472000" cy="612000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304000" y="1295149"/>
            <a:ext cx="5472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b="0" cap="none" spc="0" baseline="0"/>
            </a:lvl1pPr>
          </a:lstStyle>
          <a:p>
            <a:pPr lvl="0"/>
            <a:r>
              <a:rPr lang="fr-FR" b="1" dirty="0"/>
              <a:t>Graph </a:t>
            </a:r>
            <a:r>
              <a:rPr lang="fr-FR" b="1" dirty="0" err="1"/>
              <a:t>Title</a:t>
            </a:r>
            <a:endParaRPr lang="fr-FR" dirty="0"/>
          </a:p>
          <a:p>
            <a:pPr lvl="0"/>
            <a:r>
              <a:rPr lang="fr-FR" dirty="0"/>
              <a:t>Unit adjustment and/or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392356576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2Graphs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1827197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1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1827197"/>
            <a:ext cx="5472000" cy="414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 dirty="0"/>
              <a:t>Graph 2 placeholder</a:t>
            </a:r>
          </a:p>
          <a:p>
            <a:pPr lvl="1"/>
            <a:r>
              <a:rPr lang="en-US" dirty="0"/>
              <a:t>Recommended size</a:t>
            </a:r>
          </a:p>
          <a:p>
            <a:pPr lvl="2"/>
            <a:r>
              <a:rPr lang="en-US" dirty="0"/>
              <a:t>11.5 cm X 15.2 cm</a:t>
            </a:r>
          </a:p>
          <a:p>
            <a:pPr lvl="2"/>
            <a:r>
              <a:rPr lang="en-US" dirty="0"/>
              <a:t>4.5 in X 6 i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095637"/>
            <a:ext cx="5472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b="1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304000" y="1095637"/>
            <a:ext cx="5472000" cy="612000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416000" y="6090457"/>
            <a:ext cx="11359999" cy="437805"/>
          </a:xfrm>
        </p:spPr>
        <p:txBody>
          <a:bodyPr>
            <a:normAutofit/>
          </a:bodyPr>
          <a:lstStyle>
            <a:lvl1pPr marL="0" indent="0" algn="ctr">
              <a:defRPr lang="en-US" sz="16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lvl="0"/>
            <a:r>
              <a:rPr lang="fr-FR" dirty="0"/>
              <a:t>Key </a:t>
            </a:r>
            <a:r>
              <a:rPr lang="fr-FR" dirty="0" err="1"/>
              <a:t>takeawa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251233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89318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696339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514019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39093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2922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227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9971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71233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086402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665142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51985529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486861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16323290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4768106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168745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2567628980"/>
      </p:ext>
    </p:extLst>
  </p:cSld>
  <p:clrMapOvr>
    <a:masterClrMapping/>
  </p:clrMapOvr>
  <p:hf sldNum="0" hdr="0" ftr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5243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650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7172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330743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82029898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78431573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89232112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81607665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2442455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499149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618463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359461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30704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427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293973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352354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352074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919436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pic>
        <p:nvPicPr>
          <p:cNvPr id="22" name="Graphic 2">
            <a:extLst>
              <a:ext uri="{FF2B5EF4-FFF2-40B4-BE49-F238E27FC236}">
                <a16:creationId xmlns:a16="http://schemas.microsoft.com/office/drawing/2014/main" id="{7A83B144-63A1-47FF-94B7-B8648B14D0D0}"/>
              </a:ext>
            </a:extLst>
          </p:cNvPr>
          <p:cNvPicPr>
            <a:picLocks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52597" r="25635"/>
          <a:stretch/>
        </p:blipFill>
        <p:spPr>
          <a:xfrm>
            <a:off x="10423623" y="0"/>
            <a:ext cx="1768378" cy="1031631"/>
          </a:xfrm>
          <a:prstGeom prst="rect">
            <a:avLst/>
          </a:prstGeom>
        </p:spPr>
      </p:pic>
      <p:pic>
        <p:nvPicPr>
          <p:cNvPr id="23" name="Graphic 3">
            <a:extLst>
              <a:ext uri="{FF2B5EF4-FFF2-40B4-BE49-F238E27FC236}">
                <a16:creationId xmlns:a16="http://schemas.microsoft.com/office/drawing/2014/main" id="{44D0F1E7-5F8A-44B0-AA33-ABC93FA3AD21}"/>
              </a:ext>
            </a:extLst>
          </p:cNvPr>
          <p:cNvPicPr>
            <a:picLocks/>
          </p:cNvPicPr>
          <p:nvPr userDrawn="1"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63993"/>
          <a:stretch/>
        </p:blipFill>
        <p:spPr>
          <a:xfrm>
            <a:off x="5384516" y="5893868"/>
            <a:ext cx="2925768" cy="964132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61629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pic>
        <p:nvPicPr>
          <p:cNvPr id="22" name="Graphic 2">
            <a:extLst>
              <a:ext uri="{FF2B5EF4-FFF2-40B4-BE49-F238E27FC236}">
                <a16:creationId xmlns:a16="http://schemas.microsoft.com/office/drawing/2014/main" id="{7A83B144-63A1-47FF-94B7-B8648B14D0D0}"/>
              </a:ext>
            </a:extLst>
          </p:cNvPr>
          <p:cNvPicPr>
            <a:picLocks/>
          </p:cNvPicPr>
          <p:nvPr userDrawn="1"/>
        </p:nvPicPr>
        <p:blipFill rotWithShape="1"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52597" r="25635"/>
          <a:stretch/>
        </p:blipFill>
        <p:spPr>
          <a:xfrm>
            <a:off x="10423623" y="0"/>
            <a:ext cx="1768378" cy="1031631"/>
          </a:xfrm>
          <a:prstGeom prst="rect">
            <a:avLst/>
          </a:prstGeom>
        </p:spPr>
      </p:pic>
      <p:pic>
        <p:nvPicPr>
          <p:cNvPr id="23" name="Graphic 3">
            <a:extLst>
              <a:ext uri="{FF2B5EF4-FFF2-40B4-BE49-F238E27FC236}">
                <a16:creationId xmlns:a16="http://schemas.microsoft.com/office/drawing/2014/main" id="{44D0F1E7-5F8A-44B0-AA33-ABC93FA3AD21}"/>
              </a:ext>
            </a:extLst>
          </p:cNvPr>
          <p:cNvPicPr>
            <a:picLocks/>
          </p:cNvPicPr>
          <p:nvPr userDrawn="1"/>
        </p:nvPicPr>
        <p:blipFill rotWithShape="1"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63993"/>
          <a:stretch/>
        </p:blipFill>
        <p:spPr>
          <a:xfrm>
            <a:off x="5384516" y="5893868"/>
            <a:ext cx="2925768" cy="964132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217834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164292825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736125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7036684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90846239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8434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692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5272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663064283"/>
      </p:ext>
    </p:extLst>
  </p:cSld>
  <p:clrMapOvr>
    <a:masterClrMapping/>
  </p:clrMapOvr>
  <p:hf sldNum="0" hdr="0" ftr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0841348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225268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09201083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85681713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2580074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06114505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1291545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43982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79533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070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235859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33603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371782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585122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48215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663570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44493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68414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37386396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349504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9373410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094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263997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49235387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08756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coResearch_Graph +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1295149"/>
            <a:ext cx="5472000" cy="493806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295149"/>
            <a:ext cx="5472000" cy="612000"/>
          </a:xfrm>
        </p:spPr>
        <p:txBody>
          <a:bodyPr anchor="ctr">
            <a:noAutofit/>
          </a:bodyPr>
          <a:lstStyle>
            <a:lvl1pPr algn="ctr">
              <a:defRPr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065746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0E0754-34D0-6F46-B134-DB475031C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209D41D-BB4A-C54E-966A-FB67A5124A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9361DDA-AC0A-D745-A80B-CBE88DE21A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10997" y="6358488"/>
            <a:ext cx="1570009" cy="360850"/>
          </a:xfrm>
        </p:spPr>
        <p:txBody>
          <a:bodyPr/>
          <a:lstStyle/>
          <a:p>
            <a:fld id="{71E188DE-198E-3D42-BDCE-352A0D4A4BCB}" type="datetimeFigureOut">
              <a:rPr lang="fr-FR" smtClean="0"/>
              <a:t>09/04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49BB1B7-838C-6C43-86E6-18B6C48AC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6329BA-7084-224F-B739-829E42737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CF9A99-BDA2-AD40-9274-D55162FE457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263296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489311224"/>
      </p:ext>
    </p:extLst>
  </p:cSld>
  <p:clrMapOvr>
    <a:masterClrMapping/>
  </p:clrMapOvr>
  <p:hf sldNum="0" hdr="0" ftr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109414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594986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23776000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27396290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4201558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6377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763543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59201580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940467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588549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271504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82859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912864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87541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141729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624427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376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32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140375281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407808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06675316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134913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96679291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418415202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674855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coResearch_Graph +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1295149"/>
            <a:ext cx="5472000" cy="493806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295149"/>
            <a:ext cx="5472000" cy="612000"/>
          </a:xfrm>
        </p:spPr>
        <p:txBody>
          <a:bodyPr anchor="ctr">
            <a:noAutofit/>
          </a:bodyPr>
          <a:lstStyle>
            <a:lvl1pPr algn="ctr">
              <a:defRPr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531863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042646105"/>
      </p:ext>
    </p:extLst>
  </p:cSld>
  <p:clrMapOvr>
    <a:masterClrMapping/>
  </p:clrMapOvr>
  <p:hf sldNum="0" hdr="0" ftr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319514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39038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252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271271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95618135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21582341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1432062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420507525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463855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264147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409333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28180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235018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083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135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81026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13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76345775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473140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903593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241632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92241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90884675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83160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376733184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46319892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0450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35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2480428733"/>
      </p:ext>
    </p:extLst>
  </p:cSld>
  <p:clrMapOvr>
    <a:masterClrMapping/>
  </p:clrMapOvr>
  <p:hf sldNum="0"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679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38783824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135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01717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379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557238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989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50228240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171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66146156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115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38758088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4545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86478319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132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920339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3270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63590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1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11350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12788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US" dirty="0"/>
              <a:t>11.5 cm X 31.5 cm </a:t>
            </a:r>
          </a:p>
          <a:p>
            <a:pPr marL="712788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US" dirty="0"/>
              <a:t>4.5 in X 12.2 in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endParaRPr lang="en-US" dirty="0"/>
          </a:p>
          <a:p>
            <a:pPr lvl="0"/>
            <a:endParaRPr lang="fr-FR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6000" y="1295149"/>
            <a:ext cx="11340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520321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1Graph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1853988"/>
            <a:ext cx="11350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31.5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12.2 in</a:t>
            </a:r>
          </a:p>
          <a:p>
            <a:pPr lvl="0"/>
            <a:endParaRPr lang="fr-FR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6000" y="1145520"/>
            <a:ext cx="11340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416000" y="6090457"/>
            <a:ext cx="11359999" cy="437805"/>
          </a:xfrm>
        </p:spPr>
        <p:txBody>
          <a:bodyPr>
            <a:normAutofit/>
          </a:bodyPr>
          <a:lstStyle>
            <a:lvl1pPr marL="0" indent="0" algn="ctr">
              <a:defRPr lang="en-US" sz="16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lvl="0"/>
            <a:r>
              <a:rPr lang="fr-FR" dirty="0"/>
              <a:t>Key </a:t>
            </a:r>
            <a:r>
              <a:rPr lang="fr-FR" dirty="0" err="1"/>
              <a:t>takeawa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45719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031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875531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1Graph +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1295149"/>
            <a:ext cx="5472000" cy="493806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295149"/>
            <a:ext cx="5472000" cy="612000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defRPr sz="1200" b="1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642551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2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1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2093213"/>
            <a:ext cx="5472000" cy="414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 dirty="0"/>
              <a:t>Graph 2 placeholder</a:t>
            </a:r>
          </a:p>
          <a:p>
            <a:pPr lvl="1"/>
            <a:r>
              <a:rPr lang="en-US" dirty="0"/>
              <a:t>Recommended size</a:t>
            </a:r>
          </a:p>
          <a:p>
            <a:pPr lvl="2"/>
            <a:r>
              <a:rPr lang="en-US" dirty="0"/>
              <a:t>11.5 cm X 15.2 cm</a:t>
            </a:r>
          </a:p>
          <a:p>
            <a:pPr lvl="2"/>
            <a:r>
              <a:rPr lang="en-US" dirty="0"/>
              <a:t>4.5 in X 6 i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295149"/>
            <a:ext cx="5472000" cy="612000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304000" y="1295149"/>
            <a:ext cx="5472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b="0" cap="none" spc="0" baseline="0"/>
            </a:lvl1pPr>
          </a:lstStyle>
          <a:p>
            <a:pPr lvl="0"/>
            <a:r>
              <a:rPr lang="fr-FR" b="1" dirty="0"/>
              <a:t>Graph </a:t>
            </a:r>
            <a:r>
              <a:rPr lang="fr-FR" b="1" dirty="0" err="1"/>
              <a:t>Title</a:t>
            </a:r>
            <a:endParaRPr lang="fr-FR" dirty="0"/>
          </a:p>
          <a:p>
            <a:pPr lvl="0"/>
            <a:r>
              <a:rPr lang="fr-FR" dirty="0"/>
              <a:t>Unit adjustment and/or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391932465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coResearch_2Graphs + key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1827197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1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1827197"/>
            <a:ext cx="5472000" cy="414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 dirty="0"/>
              <a:t>Graph 2 placeholder</a:t>
            </a:r>
          </a:p>
          <a:p>
            <a:pPr lvl="1"/>
            <a:r>
              <a:rPr lang="en-US" dirty="0"/>
              <a:t>Recommended size</a:t>
            </a:r>
          </a:p>
          <a:p>
            <a:pPr lvl="2"/>
            <a:r>
              <a:rPr lang="en-US" dirty="0"/>
              <a:t>11.5 cm X 15.2 cm</a:t>
            </a:r>
          </a:p>
          <a:p>
            <a:pPr lvl="2"/>
            <a:r>
              <a:rPr lang="en-US" dirty="0"/>
              <a:t>4.5 in X 6 i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095637"/>
            <a:ext cx="5472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b="1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304000" y="1095637"/>
            <a:ext cx="5472000" cy="612000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416000" y="6090457"/>
            <a:ext cx="11359999" cy="437805"/>
          </a:xfrm>
        </p:spPr>
        <p:txBody>
          <a:bodyPr>
            <a:normAutofit/>
          </a:bodyPr>
          <a:lstStyle>
            <a:lvl1pPr marL="0" indent="0" algn="ctr">
              <a:defRPr lang="en-US" sz="16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lvl="0"/>
            <a:r>
              <a:rPr lang="fr-FR" dirty="0"/>
              <a:t>Key </a:t>
            </a:r>
            <a:r>
              <a:rPr lang="fr-FR" dirty="0" err="1"/>
              <a:t>takeawa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379054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1998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420749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227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192464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650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016962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427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137073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692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749151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070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501954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094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1278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031329580"/>
      </p:ext>
    </p:extLst>
  </p:cSld>
  <p:clrMapOvr>
    <a:masterClrMapping/>
  </p:clrMapOvr>
  <p:hf sldNum="0" hdr="0" ftr="0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6377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84410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32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314008657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252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03470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13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7585317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679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182455859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031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88755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coResearch_2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1827197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1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1827197"/>
            <a:ext cx="5472000" cy="414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 dirty="0"/>
              <a:t>Graph 2 placeholder</a:t>
            </a:r>
          </a:p>
          <a:p>
            <a:pPr lvl="1"/>
            <a:r>
              <a:rPr lang="en-US" dirty="0"/>
              <a:t>Recommended size</a:t>
            </a:r>
          </a:p>
          <a:p>
            <a:pPr lvl="2"/>
            <a:r>
              <a:rPr lang="en-US" dirty="0"/>
              <a:t>11.5 cm X 15.2 cm</a:t>
            </a:r>
          </a:p>
          <a:p>
            <a:pPr lvl="2"/>
            <a:r>
              <a:rPr lang="en-US" dirty="0"/>
              <a:t>4.5 in X 6 i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095637"/>
            <a:ext cx="5472000" cy="612000"/>
          </a:xfrm>
        </p:spPr>
        <p:txBody>
          <a:bodyPr anchor="ctr">
            <a:noAutofit/>
          </a:bodyPr>
          <a:lstStyle>
            <a:lvl1pPr algn="ctr">
              <a:defRPr sz="18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304000" y="1095637"/>
            <a:ext cx="5472000" cy="612000"/>
          </a:xfrm>
        </p:spPr>
        <p:txBody>
          <a:bodyPr anchor="ctr">
            <a:noAutofit/>
          </a:bodyPr>
          <a:lstStyle>
            <a:lvl1pPr algn="ctr">
              <a:defRPr sz="18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1327265" y="6090457"/>
            <a:ext cx="9537471" cy="437805"/>
          </a:xfrm>
        </p:spPr>
        <p:txBody>
          <a:bodyPr/>
          <a:lstStyle>
            <a:lvl1pPr marL="0" indent="0" algn="ctr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lvl="0"/>
            <a:r>
              <a:rPr lang="fr-FR" dirty="0"/>
              <a:t>Key </a:t>
            </a:r>
            <a:r>
              <a:rPr lang="fr-FR" dirty="0" err="1"/>
              <a:t>takeawa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6733696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OFACE, </a:t>
            </a:r>
            <a:r>
              <a:rPr lang="en-GB" dirty="0"/>
              <a:t>THE MOST AGILE GLOBAL TRADE CREDIT PARTNER IN THE INDUSTRY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7A3F48B-818E-4440-B2BA-2245DD423899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2"/>
          </p:nvPr>
        </p:nvSpPr>
        <p:spPr>
          <a:xfrm>
            <a:off x="524933" y="1355726"/>
            <a:ext cx="11135784" cy="48228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413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2128357575"/>
      </p:ext>
    </p:extLst>
  </p:cSld>
  <p:clrMapOvr>
    <a:masterClrMapping/>
  </p:clrMapOvr>
  <p:hf sldNum="0" hdr="0" ftr="0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98971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474969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338987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74342162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70238055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71830519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413016470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765880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154586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046374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471693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59976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2076222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068361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8787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516697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657720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342743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304204602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195253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145824398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107694009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84813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52869690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, visuel et contenu en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/>
          <p:cNvSpPr>
            <a:spLocks noGrp="1"/>
          </p:cNvSpPr>
          <p:nvPr>
            <p:ph type="pic" sz="quarter" idx="15"/>
          </p:nvPr>
        </p:nvSpPr>
        <p:spPr>
          <a:xfrm>
            <a:off x="0" y="1089025"/>
            <a:ext cx="12192000" cy="1926318"/>
          </a:xfrm>
          <a:solidFill>
            <a:schemeClr val="bg1">
              <a:lumMod val="85000"/>
            </a:schemeClr>
          </a:solidFill>
        </p:spPr>
        <p:txBody>
          <a:bodyPr vert="horz" lIns="0" tIns="45720" rIns="0" bIns="45720" rtlCol="0" anchor="ctr">
            <a:normAutofit/>
          </a:bodyPr>
          <a:lstStyle>
            <a:lvl1pPr>
              <a:defRPr lang="fr-FR"/>
            </a:lvl1pPr>
          </a:lstStyle>
          <a:p>
            <a:pPr marL="0" lvl="0" indent="0" algn="ctr">
              <a:buNone/>
            </a:pPr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61B57C"/>
                </a:solidFill>
              </a:rPr>
              <a:t>COFACE, THE MOST AGILE GLOBAL TRADE CREDIT PARTNER IN THE INDUSTRY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2"/>
          </p:nvPr>
        </p:nvSpPr>
        <p:spPr>
          <a:xfrm>
            <a:off x="524933" y="2514600"/>
            <a:ext cx="3462867" cy="3663950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4364567" y="2514600"/>
            <a:ext cx="3462867" cy="3663950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contenu 5"/>
          <p:cNvSpPr>
            <a:spLocks noGrp="1"/>
          </p:cNvSpPr>
          <p:nvPr>
            <p:ph sz="quarter" idx="14"/>
          </p:nvPr>
        </p:nvSpPr>
        <p:spPr>
          <a:xfrm>
            <a:off x="8204200" y="2514600"/>
            <a:ext cx="3462867" cy="3663950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79681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 in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AR Business Review - April 2020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7A3F48B-818E-4440-B2BA-2245DD423899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 hasCustomPrompt="1"/>
          </p:nvPr>
        </p:nvSpPr>
        <p:spPr>
          <a:xfrm>
            <a:off x="527051" y="748700"/>
            <a:ext cx="11135784" cy="323165"/>
          </a:xfrm>
          <a:blipFill dpi="0" rotWithShape="1">
            <a:blip r:embed="rId2"/>
            <a:srcRect/>
            <a:tile tx="6350" ty="0" sx="100000" sy="100000" flip="none" algn="tl"/>
          </a:blipFill>
        </p:spPr>
        <p:txBody>
          <a:bodyPr vert="horz" wrap="square" lIns="91440" tIns="45720" rIns="91440" bIns="0" rtlCol="0">
            <a:spAutoFit/>
          </a:bodyPr>
          <a:lstStyle>
            <a:lvl1pPr marL="0" indent="0">
              <a:buNone/>
              <a:defRPr lang="fr-FR" sz="2000" b="0" cap="all" baseline="0" dirty="0">
                <a:solidFill>
                  <a:schemeClr val="bg2"/>
                </a:solidFill>
              </a:defRPr>
            </a:lvl1pPr>
          </a:lstStyle>
          <a:p>
            <a:pPr marL="342900" lvl="0" indent="-342900">
              <a:spcBef>
                <a:spcPct val="0"/>
              </a:spcBef>
            </a:pPr>
            <a:r>
              <a:rPr lang="fr-FR" dirty="0"/>
              <a:t>SUBTITLE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527051" y="377826"/>
            <a:ext cx="11133461" cy="378565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contenu 5"/>
          <p:cNvSpPr>
            <a:spLocks noGrp="1"/>
          </p:cNvSpPr>
          <p:nvPr>
            <p:ph sz="quarter" idx="12"/>
          </p:nvPr>
        </p:nvSpPr>
        <p:spPr>
          <a:xfrm>
            <a:off x="527051" y="1355726"/>
            <a:ext cx="5473700" cy="48228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Espace réservé du contenu 5"/>
          <p:cNvSpPr>
            <a:spLocks noGrp="1"/>
          </p:cNvSpPr>
          <p:nvPr>
            <p:ph sz="quarter" idx="14"/>
          </p:nvPr>
        </p:nvSpPr>
        <p:spPr>
          <a:xfrm>
            <a:off x="6186811" y="1355726"/>
            <a:ext cx="5473700" cy="48228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03216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coResearch_2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5472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1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11.5 cm X 15.2 cm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4.5 in X 6 in</a:t>
            </a:r>
          </a:p>
          <a:p>
            <a:pPr lvl="0"/>
            <a:endParaRPr lang="fr-FR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6304000" y="2093213"/>
            <a:ext cx="5472000" cy="414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 dirty="0"/>
              <a:t>Graph 2 placeholder</a:t>
            </a:r>
          </a:p>
          <a:p>
            <a:pPr lvl="1"/>
            <a:r>
              <a:rPr lang="en-US" dirty="0"/>
              <a:t>Recommended size</a:t>
            </a:r>
          </a:p>
          <a:p>
            <a:pPr lvl="2"/>
            <a:r>
              <a:rPr lang="en-US" dirty="0"/>
              <a:t>11.5 cm X 15.2 cm</a:t>
            </a:r>
          </a:p>
          <a:p>
            <a:pPr lvl="2"/>
            <a:r>
              <a:rPr lang="en-US" dirty="0"/>
              <a:t>4.5 in X 6 i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0414" y="1295149"/>
            <a:ext cx="5472000" cy="612000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304000" y="1295149"/>
            <a:ext cx="5472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b="0" cap="none" spc="0" baseline="0"/>
            </a:lvl1pPr>
          </a:lstStyle>
          <a:p>
            <a:pPr lvl="0"/>
            <a:r>
              <a:rPr lang="fr-FR" b="1" dirty="0"/>
              <a:t>Graph </a:t>
            </a:r>
            <a:r>
              <a:rPr lang="fr-FR" b="1" dirty="0" err="1"/>
              <a:t>Title</a:t>
            </a:r>
            <a:endParaRPr lang="fr-FR" dirty="0"/>
          </a:p>
          <a:p>
            <a:pPr lvl="0"/>
            <a:r>
              <a:rPr lang="fr-FR" dirty="0"/>
              <a:t>Unit adjustment and/or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21890230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6024580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7629632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5757709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379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34449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77353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65452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1230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65446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54574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0775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83037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24794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82781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28942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989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7306833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565031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90928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30269222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1540397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14717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in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COFACE, THE MOST AGILE GLOBAL TRADE CREDIT PARTNER IN THE INDUSTRY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7A3F48B-818E-4440-B2BA-2245DD423899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2"/>
          </p:nvPr>
        </p:nvSpPr>
        <p:spPr>
          <a:xfrm>
            <a:off x="527051" y="1355726"/>
            <a:ext cx="5473700" cy="4822825"/>
          </a:xfrm>
        </p:spPr>
        <p:txBody>
          <a:bodyPr/>
          <a:lstStyle/>
          <a:p>
            <a:pPr lvl="0"/>
            <a:r>
              <a:rPr lang="en-GB" dirty="0"/>
              <a:t>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Cinqu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7" name="Espace réservé du contenu 5"/>
          <p:cNvSpPr>
            <a:spLocks noGrp="1"/>
          </p:cNvSpPr>
          <p:nvPr>
            <p:ph sz="quarter" idx="13"/>
          </p:nvPr>
        </p:nvSpPr>
        <p:spPr>
          <a:xfrm>
            <a:off x="6186813" y="1355726"/>
            <a:ext cx="5473700" cy="4822825"/>
          </a:xfrm>
        </p:spPr>
        <p:txBody>
          <a:bodyPr/>
          <a:lstStyle/>
          <a:p>
            <a:pPr lvl="0"/>
            <a:r>
              <a:rPr lang="en-GB" dirty="0"/>
              <a:t>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Cinqu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435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2584656235"/>
      </p:ext>
    </p:extLst>
  </p:cSld>
  <p:clrMapOvr>
    <a:masterClrMapping/>
  </p:clrMapOvr>
  <p:hf sldNum="0" hdr="0" ft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82074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38827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7344670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171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0213261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6121015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1355484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9700762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57776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84403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63834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76624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6072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9193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27194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115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26242974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300105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08462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31331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8213137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240515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131192869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0467060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358077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82089377"/>
      </p:ext>
    </p:extLst>
  </p:cSld>
  <p:clrMapOvr>
    <a:masterClrMapping/>
  </p:clrMapOvr>
  <p:hf sldNum="0" hdr="0" ft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44062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4545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2949168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80287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7452097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6613130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7741313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5394104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97730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247116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1"/>
            <a:ext cx="11264900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DE0E36FD-70CA-4FDA-836F-0EB7EBF3982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247D425E-D54D-4E47-8565-0B7B866860EC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5698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197981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6" name="Espace réservé pour une image  35">
            <a:extLst>
              <a:ext uri="{FF2B5EF4-FFF2-40B4-BE49-F238E27FC236}">
                <a16:creationId xmlns:a16="http://schemas.microsoft.com/office/drawing/2014/main" id="{29CA1226-5FF8-4ACF-B4EF-155CD417207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89700" y="0"/>
            <a:ext cx="5702300" cy="68580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13113859-CE45-4808-A26B-C4F2C67C23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2BB29385-90D7-477D-B21F-208DCE9343B4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6726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132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47701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773729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379982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+ Txt + Img + Highlight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773729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E18708B7-219A-43F1-94EF-084DCE04C357}"/>
              </a:ext>
            </a:extLst>
          </p:cNvPr>
          <p:cNvGrpSpPr/>
          <p:nvPr userDrawn="1"/>
        </p:nvGrpSpPr>
        <p:grpSpPr>
          <a:xfrm>
            <a:off x="12371453" y="1762502"/>
            <a:ext cx="1885826" cy="1528108"/>
            <a:chOff x="511520" y="2588002"/>
            <a:chExt cx="1885826" cy="152810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90A22C23-8D60-4601-BB85-014AE2BEE4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1708" y="2588002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256751C-BBD0-47B1-A4DF-FEA938652ADF}"/>
                </a:ext>
              </a:extLst>
            </p:cNvPr>
            <p:cNvSpPr/>
            <p:nvPr/>
          </p:nvSpPr>
          <p:spPr>
            <a:xfrm>
              <a:off x="511520" y="2946559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 change the </a:t>
              </a:r>
              <a:r>
                <a:rPr kumimoji="0" lang="fr-FR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sual</a:t>
              </a:r>
              <a:r>
                <a:rPr kumimoji="0" lang="fr-FR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5192F0A7-A74A-475A-936E-849FBA0A32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1098" y="0"/>
            <a:ext cx="3390901" cy="6858000"/>
          </a:xfrm>
          <a:custGeom>
            <a:avLst/>
            <a:gdLst>
              <a:gd name="connsiteX0" fmla="*/ 0 w 3390901"/>
              <a:gd name="connsiteY0" fmla="*/ 0 h 6858000"/>
              <a:gd name="connsiteX1" fmla="*/ 3390901 w 3390901"/>
              <a:gd name="connsiteY1" fmla="*/ 0 h 6858000"/>
              <a:gd name="connsiteX2" fmla="*/ 3390901 w 3390901"/>
              <a:gd name="connsiteY2" fmla="*/ 6858000 h 6858000"/>
              <a:gd name="connsiteX3" fmla="*/ 0 w 3390901"/>
              <a:gd name="connsiteY3" fmla="*/ 6858000 h 6858000"/>
              <a:gd name="connsiteX4" fmla="*/ 0 w 3390901"/>
              <a:gd name="connsiteY4" fmla="*/ 5279823 h 6858000"/>
              <a:gd name="connsiteX5" fmla="*/ 1754717 w 3390901"/>
              <a:gd name="connsiteY5" fmla="*/ 5279823 h 6858000"/>
              <a:gd name="connsiteX6" fmla="*/ 1754717 w 3390901"/>
              <a:gd name="connsiteY6" fmla="*/ 1993901 h 6858000"/>
              <a:gd name="connsiteX7" fmla="*/ 0 w 3390901"/>
              <a:gd name="connsiteY7" fmla="*/ 19939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90901" h="6858000">
                <a:moveTo>
                  <a:pt x="0" y="0"/>
                </a:moveTo>
                <a:lnTo>
                  <a:pt x="3390901" y="0"/>
                </a:lnTo>
                <a:lnTo>
                  <a:pt x="3390901" y="6858000"/>
                </a:lnTo>
                <a:lnTo>
                  <a:pt x="0" y="6858000"/>
                </a:lnTo>
                <a:lnTo>
                  <a:pt x="0" y="5279823"/>
                </a:lnTo>
                <a:lnTo>
                  <a:pt x="1754717" y="5279823"/>
                </a:lnTo>
                <a:lnTo>
                  <a:pt x="1754717" y="1993901"/>
                </a:lnTo>
                <a:lnTo>
                  <a:pt x="0" y="1993901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C8E28F3-056E-4625-8951-DFE7BD3962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2304" y="1993900"/>
            <a:ext cx="2873511" cy="3285921"/>
          </a:xfrm>
          <a:solidFill>
            <a:schemeClr val="bg2"/>
          </a:solidFill>
        </p:spPr>
        <p:txBody>
          <a:bodyPr anchor="ctr"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en-GB" dirty="0"/>
          </a:p>
        </p:txBody>
      </p:sp>
      <p:sp>
        <p:nvSpPr>
          <p:cNvPr id="20" name="Espace réservé du texte 6">
            <a:extLst>
              <a:ext uri="{FF2B5EF4-FFF2-40B4-BE49-F238E27FC236}">
                <a16:creationId xmlns:a16="http://schemas.microsoft.com/office/drawing/2014/main" id="{20042826-5925-430D-B7AE-DEC7618AFF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773729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3EDAF8EC-5A57-4E15-80F5-F359ED9290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451300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11D11256-CD53-4E1F-AA94-0ADF719AEACB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279420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DF95E2AD-167A-4A38-A020-3824E70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DF95E2AD-167A-4A38-A020-3824E70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A64275A-975E-4042-BDCD-12D534FD0E48}"/>
              </a:ext>
            </a:extLst>
          </p:cNvPr>
          <p:cNvSpPr/>
          <p:nvPr userDrawn="1"/>
        </p:nvSpPr>
        <p:spPr>
          <a:xfrm>
            <a:off x="0" y="3070185"/>
            <a:ext cx="12192000" cy="3787815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39A0B29-C503-45FC-A812-FA037F3D4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6CC84191-28A6-4C24-BCA4-2FFC4AB2FE35}"/>
              </a:ext>
            </a:extLst>
          </p:cNvPr>
          <p:cNvCxnSpPr>
            <a:cxnSpLocks/>
          </p:cNvCxnSpPr>
          <p:nvPr userDrawn="1"/>
        </p:nvCxnSpPr>
        <p:spPr>
          <a:xfrm>
            <a:off x="592153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FE488466-1398-4704-8AE2-AA61E5BFCC63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3" name="Espace réservé du texte 9">
            <a:extLst>
              <a:ext uri="{FF2B5EF4-FFF2-40B4-BE49-F238E27FC236}">
                <a16:creationId xmlns:a16="http://schemas.microsoft.com/office/drawing/2014/main" id="{E013E8ED-8131-4055-A9D2-32088F6B3D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1208103C-8428-4B99-931C-4C763BEB00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79511" y="5586393"/>
            <a:ext cx="7581900" cy="83820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spc="0" baseline="0"/>
            </a:lvl1pPr>
            <a:lvl2pPr marL="223838" indent="0">
              <a:buNone/>
              <a:defRPr/>
            </a:lvl2pPr>
          </a:lstStyle>
          <a:p>
            <a:pPr lvl="0"/>
            <a:r>
              <a:rPr lang="en-GB" dirty="0"/>
              <a:t>Click here to add</a:t>
            </a:r>
          </a:p>
          <a:p>
            <a:pPr lvl="0"/>
            <a:r>
              <a:rPr lang="en-GB" dirty="0"/>
              <a:t>your highlight tex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AD58E76-9CB4-4808-95F1-AC2D5A63F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3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49F9F8C-2C1D-4D96-AAC0-A2E5451C75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563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862E7071-2496-449D-AE4B-C04B26289A40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639CC988-DBFC-45AF-AEC9-E4545A13985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22DC8C38-F1EC-4996-A2B6-DF03843D8A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459B9793-268D-4DC2-8CB3-FBBA59D35935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A9539EDE-4F31-4B97-A208-D3BA867561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28" name="Image 27">
              <a:extLst>
                <a:ext uri="{FF2B5EF4-FFF2-40B4-BE49-F238E27FC236}">
                  <a16:creationId xmlns:a16="http://schemas.microsoft.com/office/drawing/2014/main" id="{1282382C-8224-4F34-9EA7-537BACE032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32" name="Espace réservé du texte 16">
            <a:extLst>
              <a:ext uri="{FF2B5EF4-FFF2-40B4-BE49-F238E27FC236}">
                <a16:creationId xmlns:a16="http://schemas.microsoft.com/office/drawing/2014/main" id="{866F79FD-38B2-4E73-A27F-8285C272C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02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3" name="Espace réservé du texte 23">
            <a:extLst>
              <a:ext uri="{FF2B5EF4-FFF2-40B4-BE49-F238E27FC236}">
                <a16:creationId xmlns:a16="http://schemas.microsoft.com/office/drawing/2014/main" id="{42084413-D97D-46DE-887E-65BB8BEF4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033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4" name="Espace réservé du texte 16">
            <a:extLst>
              <a:ext uri="{FF2B5EF4-FFF2-40B4-BE49-F238E27FC236}">
                <a16:creationId xmlns:a16="http://schemas.microsoft.com/office/drawing/2014/main" id="{D50B8201-36E4-4D88-AB22-415E18E5FC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990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5" name="Espace réservé du texte 23">
            <a:extLst>
              <a:ext uri="{FF2B5EF4-FFF2-40B4-BE49-F238E27FC236}">
                <a16:creationId xmlns:a16="http://schemas.microsoft.com/office/drawing/2014/main" id="{A17522A0-84AB-4C84-A808-EAFCC61D9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3219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7" name="Espace réservé du texte 16">
            <a:extLst>
              <a:ext uri="{FF2B5EF4-FFF2-40B4-BE49-F238E27FC236}">
                <a16:creationId xmlns:a16="http://schemas.microsoft.com/office/drawing/2014/main" id="{A35576DA-2F82-461F-B22F-CABD53880C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791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38" name="Espace réservé du texte 23">
            <a:extLst>
              <a:ext uri="{FF2B5EF4-FFF2-40B4-BE49-F238E27FC236}">
                <a16:creationId xmlns:a16="http://schemas.microsoft.com/office/drawing/2014/main" id="{F59CC6CA-2790-44FF-BC9E-B51F918C8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61045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  <p:sp>
        <p:nvSpPr>
          <p:cNvPr id="39" name="Espace réservé du texte 16">
            <a:extLst>
              <a:ext uri="{FF2B5EF4-FFF2-40B4-BE49-F238E27FC236}">
                <a16:creationId xmlns:a16="http://schemas.microsoft.com/office/drawing/2014/main" id="{15E5E103-E731-4147-BE37-E66CDCD726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56762" y="1670597"/>
            <a:ext cx="2001837" cy="1286689"/>
          </a:xfrm>
          <a:blipFill>
            <a:blip r:embed="rId5"/>
            <a:stretch>
              <a:fillRect/>
            </a:stretch>
          </a:blipFill>
        </p:spPr>
        <p:txBody>
          <a:bodyPr bIns="180000" anchor="b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/>
              <a:t>Section</a:t>
            </a:r>
          </a:p>
          <a:p>
            <a:pPr lvl="0"/>
            <a:r>
              <a:rPr lang="en-GB" dirty="0"/>
              <a:t>title</a:t>
            </a:r>
          </a:p>
        </p:txBody>
      </p:sp>
      <p:sp>
        <p:nvSpPr>
          <p:cNvPr id="40" name="Espace réservé du texte 23">
            <a:extLst>
              <a:ext uri="{FF2B5EF4-FFF2-40B4-BE49-F238E27FC236}">
                <a16:creationId xmlns:a16="http://schemas.microsoft.com/office/drawing/2014/main" id="{9537BFBB-76D7-4087-A2FF-74ADC074F6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56762" y="3251200"/>
            <a:ext cx="2068704" cy="1666875"/>
          </a:xfrm>
        </p:spPr>
        <p:txBody>
          <a:bodyPr/>
          <a:lstStyle>
            <a:lvl1pPr marL="47625" indent="-47625">
              <a:defRPr sz="1200" cap="none" spc="0" baseline="0"/>
            </a:lvl1pPr>
            <a:lvl2pPr marL="228600" indent="-180975">
              <a:defRPr sz="1050"/>
            </a:lvl2pPr>
          </a:lstStyle>
          <a:p>
            <a:pPr lvl="0"/>
            <a:r>
              <a:rPr lang="en-GB" dirty="0"/>
              <a:t>Paragraph title</a:t>
            </a:r>
          </a:p>
          <a:p>
            <a:pPr lvl="1"/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marL="228600" marR="0" lvl="1" indent="-1809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GB" dirty="0"/>
              <a:t>Level 02 text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172782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5421247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476F3186-4CC0-486C-AC24-09149C7050C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27" name="Graphique 13">
            <a:extLst>
              <a:ext uri="{FF2B5EF4-FFF2-40B4-BE49-F238E27FC236}">
                <a16:creationId xmlns:a16="http://schemas.microsoft.com/office/drawing/2014/main" id="{F973F7D2-0010-4429-A7B5-E094332A93D2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13812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xt + Highlight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727200"/>
            <a:ext cx="5421247" cy="4292599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29E44835-D5D4-411D-B234-B90A145C20FF}"/>
              </a:ext>
            </a:extLst>
          </p:cNvPr>
          <p:cNvSpPr/>
          <p:nvPr userDrawn="1"/>
        </p:nvSpPr>
        <p:spPr>
          <a:xfrm>
            <a:off x="6019800" y="0"/>
            <a:ext cx="6172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24" name="Espace réservé du texte 9">
            <a:extLst>
              <a:ext uri="{FF2B5EF4-FFF2-40B4-BE49-F238E27FC236}">
                <a16:creationId xmlns:a16="http://schemas.microsoft.com/office/drawing/2014/main" id="{F7523A43-9D59-4E6F-8ABB-E88F90A9A0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5421247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5599ABF-7CDB-4B67-9B54-FA05CE9CC6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33038" y="733291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0ED4DEEF-D0AC-4510-8626-05A506815E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33038" y="1735669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262FE36F-5E65-4DE9-88DE-D32E9573BF7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33038" y="2462939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5902EBC5-4574-409E-948C-77DA35792A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33038" y="3465317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B0871EDA-89DB-4BC4-A27F-19D696AE14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3038" y="4192587"/>
            <a:ext cx="1186384" cy="935875"/>
          </a:xfrm>
        </p:spPr>
        <p:txBody>
          <a:bodyPr tIns="1152000" anchor="b">
            <a:noAutofit/>
          </a:bodyPr>
          <a:lstStyle>
            <a:lvl1pPr marL="0" indent="0">
              <a:buNone/>
              <a:defRPr sz="54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0</a:t>
            </a:r>
            <a:endParaRPr lang="en-GB" dirty="0"/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B0BEBC5D-15A4-41FF-BA4C-9F83B50A6C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3038" y="5194965"/>
            <a:ext cx="3539862" cy="341632"/>
          </a:xfrm>
        </p:spPr>
        <p:txBody>
          <a:bodyPr wrap="square" anchor="t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Your text</a:t>
            </a:r>
            <a:endParaRPr lang="en-GB" dirty="0"/>
          </a:p>
        </p:txBody>
      </p:sp>
      <p:sp>
        <p:nvSpPr>
          <p:cNvPr id="25" name="Titre 1">
            <a:extLst>
              <a:ext uri="{FF2B5EF4-FFF2-40B4-BE49-F238E27FC236}">
                <a16:creationId xmlns:a16="http://schemas.microsoft.com/office/drawing/2014/main" id="{461DF43A-0E33-4178-8264-4750F0D664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5098817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10358293-54C6-4D7D-863E-642F1EB66639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que 31">
            <a:extLst>
              <a:ext uri="{FF2B5EF4-FFF2-40B4-BE49-F238E27FC236}">
                <a16:creationId xmlns:a16="http://schemas.microsoft.com/office/drawing/2014/main" id="{405E7F78-D0DA-4AB2-BEA3-DF9950A1DA1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93787" y="6126385"/>
            <a:ext cx="2659139" cy="731615"/>
          </a:xfrm>
          <a:prstGeom prst="rect">
            <a:avLst/>
          </a:prstGeom>
        </p:spPr>
      </p:pic>
      <p:sp>
        <p:nvSpPr>
          <p:cNvPr id="33" name="Graphique 13">
            <a:extLst>
              <a:ext uri="{FF2B5EF4-FFF2-40B4-BE49-F238E27FC236}">
                <a16:creationId xmlns:a16="http://schemas.microsoft.com/office/drawing/2014/main" id="{95739552-1573-4E19-B101-4DAF49FD330B}"/>
              </a:ext>
            </a:extLst>
          </p:cNvPr>
          <p:cNvSpPr/>
          <p:nvPr userDrawn="1"/>
        </p:nvSpPr>
        <p:spPr>
          <a:xfrm>
            <a:off x="9535886" y="0"/>
            <a:ext cx="2656114" cy="728519"/>
          </a:xfrm>
          <a:custGeom>
            <a:avLst/>
            <a:gdLst>
              <a:gd name="connsiteX0" fmla="*/ 2790267 w 3596354"/>
              <a:gd name="connsiteY0" fmla="*/ 0 h 986408"/>
              <a:gd name="connsiteX1" fmla="*/ 1711179 w 3596354"/>
              <a:gd name="connsiteY1" fmla="*/ 560261 h 986408"/>
              <a:gd name="connsiteX2" fmla="*/ 593516 w 3596354"/>
              <a:gd name="connsiteY2" fmla="*/ 0 h 986408"/>
              <a:gd name="connsiteX3" fmla="*/ 213659 w 3596354"/>
              <a:gd name="connsiteY3" fmla="*/ 0 h 986408"/>
              <a:gd name="connsiteX4" fmla="*/ -464 w 3596354"/>
              <a:gd name="connsiteY4" fmla="*/ 431578 h 986408"/>
              <a:gd name="connsiteX5" fmla="*/ 1697558 w 3596354"/>
              <a:gd name="connsiteY5" fmla="*/ 986409 h 986408"/>
              <a:gd name="connsiteX6" fmla="*/ 3595891 w 3596354"/>
              <a:gd name="connsiteY6" fmla="*/ 0 h 986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96354" h="986408">
                <a:moveTo>
                  <a:pt x="2790267" y="0"/>
                </a:moveTo>
                <a:cubicBezTo>
                  <a:pt x="2584812" y="358712"/>
                  <a:pt x="2206193" y="560261"/>
                  <a:pt x="1711179" y="560261"/>
                </a:cubicBezTo>
                <a:cubicBezTo>
                  <a:pt x="1171016" y="560261"/>
                  <a:pt x="804875" y="328041"/>
                  <a:pt x="593516" y="0"/>
                </a:cubicBezTo>
                <a:lnTo>
                  <a:pt x="213659" y="0"/>
                </a:lnTo>
                <a:lnTo>
                  <a:pt x="-464" y="431578"/>
                </a:lnTo>
                <a:cubicBezTo>
                  <a:pt x="351390" y="722567"/>
                  <a:pt x="939845" y="986409"/>
                  <a:pt x="1697558" y="986409"/>
                </a:cubicBezTo>
                <a:cubicBezTo>
                  <a:pt x="2699684" y="986409"/>
                  <a:pt x="3330524" y="593598"/>
                  <a:pt x="359589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07459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48013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28552D5A-1C95-456D-BEFD-6B1E020936E3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27839501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3 txt bloc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e 13">
            <a:extLst>
              <a:ext uri="{FF2B5EF4-FFF2-40B4-BE49-F238E27FC236}">
                <a16:creationId xmlns:a16="http://schemas.microsoft.com/office/drawing/2014/main" id="{3C95714D-CE10-4B68-A1FA-3A7C2BFFCEFA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DFE7F59F-F7C2-46C0-A7E5-6173C8FAC765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42F384A9-7118-4474-B68C-9010CE26B5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3A3AD60-E19A-4AE2-BD4E-085F497EDCFA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B5AB8504-4BCB-48DC-A077-17A0240C2C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8A8F4AB3-F698-4FF5-96B2-372A3CF8E8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DECC9C60-2407-4889-803E-2D51019EEA71}"/>
              </a:ext>
            </a:extLst>
          </p:cNvPr>
          <p:cNvGrpSpPr/>
          <p:nvPr userDrawn="1"/>
        </p:nvGrpSpPr>
        <p:grpSpPr>
          <a:xfrm>
            <a:off x="12371453" y="1689100"/>
            <a:ext cx="1885826" cy="1528108"/>
            <a:chOff x="4867566" y="1651754"/>
            <a:chExt cx="1885826" cy="1528108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377CA58C-3EB0-4628-AAC0-EFFFA784EE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551C0DE-9F99-4A9A-9B69-CBC5A9CD93FF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pic>
        <p:nvPicPr>
          <p:cNvPr id="21" name="Image 20">
            <a:extLst>
              <a:ext uri="{FF2B5EF4-FFF2-40B4-BE49-F238E27FC236}">
                <a16:creationId xmlns:a16="http://schemas.microsoft.com/office/drawing/2014/main" id="{74B46013-BAA0-473A-984E-C8EABA70AC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430" b="23858"/>
          <a:stretch/>
        </p:blipFill>
        <p:spPr>
          <a:xfrm>
            <a:off x="11149613" y="6468885"/>
            <a:ext cx="886661" cy="243115"/>
          </a:xfrm>
          <a:prstGeom prst="rect">
            <a:avLst/>
          </a:prstGeom>
        </p:spPr>
      </p:pic>
      <p:sp>
        <p:nvSpPr>
          <p:cNvPr id="38" name="Espace réservé du texte 7">
            <a:extLst>
              <a:ext uri="{FF2B5EF4-FFF2-40B4-BE49-F238E27FC236}">
                <a16:creationId xmlns:a16="http://schemas.microsoft.com/office/drawing/2014/main" id="{DC3CC124-19C7-4C9A-AA66-80A6295221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9482" y="1813560"/>
            <a:ext cx="3210534" cy="4251957"/>
          </a:xfrm>
          <a:solidFill>
            <a:schemeClr val="accent5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0" name="Espace réservé du texte 7">
            <a:extLst>
              <a:ext uri="{FF2B5EF4-FFF2-40B4-BE49-F238E27FC236}">
                <a16:creationId xmlns:a16="http://schemas.microsoft.com/office/drawing/2014/main" id="{62A62E1F-32D6-4071-9079-B7144ED9C9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109" y="1813560"/>
            <a:ext cx="3731941" cy="4251957"/>
          </a:xfrm>
          <a:solidFill>
            <a:schemeClr val="bg2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1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1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1" name="Espace réservé du texte 7">
            <a:extLst>
              <a:ext uri="{FF2B5EF4-FFF2-40B4-BE49-F238E27FC236}">
                <a16:creationId xmlns:a16="http://schemas.microsoft.com/office/drawing/2014/main" id="{985B5D9C-930C-4A5C-A60E-4D1969A961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6143" y="1813560"/>
            <a:ext cx="3210537" cy="4251957"/>
          </a:xfrm>
          <a:solidFill>
            <a:schemeClr val="bg1"/>
          </a:solidFill>
        </p:spPr>
        <p:txBody>
          <a:bodyPr tIns="1260000"/>
          <a:lstStyle>
            <a:lvl1pPr>
              <a:lnSpc>
                <a:spcPct val="110000"/>
              </a:lnSpc>
              <a:defRPr sz="1600" b="0">
                <a:solidFill>
                  <a:schemeClr val="bg2"/>
                </a:solidFill>
              </a:defRPr>
            </a:lvl1pPr>
            <a:lvl2pPr marL="228600" indent="-228600">
              <a:lnSpc>
                <a:spcPct val="110000"/>
              </a:lnSpc>
              <a:spcBef>
                <a:spcPts val="1800"/>
              </a:spcBef>
              <a:buFont typeface="Century Gothic" panose="020B0502020202020204" pitchFamily="34" charset="0"/>
              <a:buChar char=" "/>
              <a:defRPr sz="1050">
                <a:solidFill>
                  <a:schemeClr val="bg2"/>
                </a:solidFill>
              </a:defRPr>
            </a:lvl2pPr>
            <a:lvl3pPr marL="484188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itle of the paragraph</a:t>
            </a:r>
          </a:p>
          <a:p>
            <a:pPr lvl="1"/>
            <a:r>
              <a:rPr lang="en-GB"/>
              <a:t>Deuxième niveau</a:t>
            </a:r>
            <a:endParaRPr lang="en-GB" dirty="0"/>
          </a:p>
        </p:txBody>
      </p:sp>
      <p:sp>
        <p:nvSpPr>
          <p:cNvPr id="45" name="Espace réservé du texte 9">
            <a:extLst>
              <a:ext uri="{FF2B5EF4-FFF2-40B4-BE49-F238E27FC236}">
                <a16:creationId xmlns:a16="http://schemas.microsoft.com/office/drawing/2014/main" id="{7F34C2EB-12D8-47DB-8269-DA3E3843F9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FC98BFBB-6D7E-4A26-98B1-394676FF2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30" y="440971"/>
            <a:ext cx="10795150" cy="86793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99B96A-6FA9-4F8E-82CA-FF27849E2662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84985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10 txt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0AB8A91-42C5-4698-869C-7D717607A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0AB8A91-42C5-4698-869C-7D717607A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B851579-7991-49D9-B1AC-E66F5B70F5E4}"/>
              </a:ext>
            </a:extLst>
          </p:cNvPr>
          <p:cNvSpPr/>
          <p:nvPr userDrawn="1"/>
        </p:nvSpPr>
        <p:spPr>
          <a:xfrm>
            <a:off x="0" y="0"/>
            <a:ext cx="12192000" cy="4968240"/>
          </a:xfrm>
          <a:prstGeom prst="rect">
            <a:avLst/>
          </a:prstGeom>
          <a:solidFill>
            <a:srgbClr val="E5ED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4C5B305-401A-4DE6-AD6E-B5549364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/>
              <a:t>TITLE OF THE SLIDE</a:t>
            </a:r>
            <a:endParaRPr lang="en-GB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83873ABF-4CD5-4559-B651-DE5FCB9990BC}"/>
              </a:ext>
            </a:extLst>
          </p:cNvPr>
          <p:cNvCxnSpPr>
            <a:cxnSpLocks/>
          </p:cNvCxnSpPr>
          <p:nvPr userDrawn="1"/>
        </p:nvCxnSpPr>
        <p:spPr>
          <a:xfrm>
            <a:off x="771688" y="8950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9BE5C6BF-4E68-40FB-A5B2-264606B96E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0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2" name="Espace réservé du texte 14">
            <a:extLst>
              <a:ext uri="{FF2B5EF4-FFF2-40B4-BE49-F238E27FC236}">
                <a16:creationId xmlns:a16="http://schemas.microsoft.com/office/drawing/2014/main" id="{E8788FC9-E4CA-4A7E-A81F-45BF89B3E4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38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AC36CCDA-E418-4F7C-82F9-DE8E967559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036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C46AA93-464F-4A87-AC55-28A828F2D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134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86F58324-EC45-4A95-A89E-C6FC94B84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23242" y="1954001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067CFA64-B9BA-4CBD-B3E4-01C7E089AB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38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AEEA2BF4-B7B4-4BC9-B8E6-32B3DE9F0E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36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6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51A15182-E932-4EBC-ADF2-7455D328F0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134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tx2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0D458BCA-0F21-4B9F-BC28-A88A7F8627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32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040FCEB-5103-4C0D-911E-3D3737D14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042" y="4178905"/>
            <a:ext cx="1800000" cy="1800000"/>
          </a:xfrm>
          <a:solidFill>
            <a:schemeClr val="bg1"/>
          </a:solidFill>
          <a:effectLst>
            <a:outerShdw blurRad="254000" dist="254000" dir="5400000" algn="ctr" rotWithShape="0">
              <a:srgbClr val="000000">
                <a:alpha val="12000"/>
              </a:srgbClr>
            </a:outerShdw>
          </a:effectLst>
        </p:spPr>
        <p:txBody>
          <a:bodyPr tIns="144000"/>
          <a:lstStyle>
            <a:lvl1pPr marL="88900" indent="-88900">
              <a:spcBef>
                <a:spcPts val="0"/>
              </a:spcBef>
              <a:defRPr spc="0">
                <a:solidFill>
                  <a:schemeClr val="accent1"/>
                </a:solidFill>
              </a:defRPr>
            </a:lvl1pPr>
            <a:lvl2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b="1" spc="0"/>
            </a:lvl2pPr>
            <a:lvl3pPr marL="88900" indent="-88900">
              <a:spcBef>
                <a:spcPts val="0"/>
              </a:spcBef>
              <a:buFont typeface="Century Gothic" panose="020B0502020202020204" pitchFamily="34" charset="0"/>
              <a:buChar char=" "/>
              <a:defRPr sz="1000" spc="0"/>
            </a:lvl3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  <a:endParaRPr lang="en-GB" dirty="0"/>
          </a:p>
        </p:txBody>
      </p: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A5D4E8F4-BD66-45BF-AF3E-7AE8BBCCA594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DD294017-D924-4474-8D57-52AFD94560E1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6ECA3490-BB25-4B73-BCA5-B3816742C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64AD2F7A-CC2A-4717-94F7-CB74FD9F157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Image 42">
              <a:extLst>
                <a:ext uri="{FF2B5EF4-FFF2-40B4-BE49-F238E27FC236}">
                  <a16:creationId xmlns:a16="http://schemas.microsoft.com/office/drawing/2014/main" id="{B23B9055-FF74-428E-814A-D94B7495A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A98C00A8-2355-4119-AA0B-5150A1BE9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B3767686-BB6C-4311-A51B-77C4CDECE7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88332420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</p:spTree>
    <p:extLst>
      <p:ext uri="{BB962C8B-B14F-4D97-AF65-F5344CB8AC3E}">
        <p14:creationId xmlns:p14="http://schemas.microsoft.com/office/powerpoint/2010/main" val="17354986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E11F620C-1D62-471C-92A5-5E5706962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86793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  <a:br>
              <a:rPr lang="en-GB" dirty="0"/>
            </a:br>
            <a:r>
              <a:rPr lang="en-GB" dirty="0"/>
              <a:t>on two lines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90622B41-91FE-4449-A785-BCCA61C01878}"/>
              </a:ext>
            </a:extLst>
          </p:cNvPr>
          <p:cNvCxnSpPr>
            <a:cxnSpLocks/>
          </p:cNvCxnSpPr>
          <p:nvPr userDrawn="1"/>
        </p:nvCxnSpPr>
        <p:spPr>
          <a:xfrm>
            <a:off x="741529" y="1339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3890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3270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231524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coResearch_1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16000" y="2093213"/>
            <a:ext cx="11350000" cy="4140000"/>
          </a:xfrm>
        </p:spPr>
        <p:txBody>
          <a:bodyPr/>
          <a:lstStyle>
            <a:lvl1pPr marL="452438" indent="-228600">
              <a:defRPr lang="en-US" sz="1800" b="1" kern="1200" cap="all" spc="3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85750" indent="-285750"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712788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 baseline="0"/>
            </a:lvl3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Century Gothic" panose="020B0502020202020204" pitchFamily="34" charset="0"/>
              <a:buChar char=" "/>
            </a:pPr>
            <a:r>
              <a:rPr lang="en-US" dirty="0"/>
              <a:t>Graph Placeholder</a:t>
            </a:r>
          </a:p>
          <a:p>
            <a:pPr marL="452438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r>
              <a:rPr lang="en-US" dirty="0"/>
              <a:t>Recommended size: </a:t>
            </a:r>
          </a:p>
          <a:p>
            <a:pPr marL="712788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US" dirty="0"/>
              <a:t>11.5 cm X 31.5 cm </a:t>
            </a:r>
          </a:p>
          <a:p>
            <a:pPr marL="712788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›"/>
              <a:tabLst/>
              <a:defRPr/>
            </a:pPr>
            <a:r>
              <a:rPr lang="en-US" dirty="0"/>
              <a:t>4.5 in X 12.2 in</a:t>
            </a:r>
          </a:p>
          <a:p>
            <a:pPr marL="712788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›"/>
            </a:pPr>
            <a:endParaRPr lang="en-US" dirty="0"/>
          </a:p>
          <a:p>
            <a:pPr lvl="0"/>
            <a:endParaRPr lang="fr-FR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26000" y="1295149"/>
            <a:ext cx="11340000" cy="6120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200" cap="none" spc="0" baseline="0"/>
            </a:lvl1pPr>
          </a:lstStyle>
          <a:p>
            <a:pPr lvl="0"/>
            <a:r>
              <a:rPr lang="fr-FR" cap="none" spc="0" baseline="0" dirty="0"/>
              <a:t>Graph </a:t>
            </a:r>
            <a:r>
              <a:rPr lang="fr-FR" cap="none" spc="0" baseline="0" dirty="0" err="1"/>
              <a:t>Title</a:t>
            </a:r>
            <a:endParaRPr lang="fr-FR" cap="none" spc="0" baseline="0" dirty="0"/>
          </a:p>
          <a:p>
            <a:pPr lvl="0"/>
            <a:r>
              <a:rPr lang="fr-FR" b="0" cap="none" spc="0" baseline="0" dirty="0"/>
              <a:t>Unit, adjustment and/or transform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304543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B9ED005C-6CC1-4671-B559-6CDB9C0FB1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B9ED005C-6CC1-4671-B559-6CDB9C0FB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5C157F41-D659-4ADB-A3CB-F29BA2D79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646401"/>
            <a:ext cx="2032000" cy="683026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7CA71360-7010-4BAA-BB9C-3F67790B9C38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9C905F1-6E16-4593-A228-83589C143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9C1C185-77B9-4C02-A2C7-22DB592D8782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  <p:sp>
        <p:nvSpPr>
          <p:cNvPr id="9" name="Espace réservé de la date 8">
            <a:extLst>
              <a:ext uri="{FF2B5EF4-FFF2-40B4-BE49-F238E27FC236}">
                <a16:creationId xmlns:a16="http://schemas.microsoft.com/office/drawing/2014/main" id="{5240BF32-AD85-4591-8FE5-0D837032BA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0202" y="6126259"/>
            <a:ext cx="1991599" cy="360850"/>
          </a:xfrm>
        </p:spPr>
        <p:txBody>
          <a:bodyPr/>
          <a:lstStyle/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60478FC2-DDC6-4B2C-8D73-7B7DEEB21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1761771"/>
            <a:ext cx="10612271" cy="646331"/>
          </a:xfrm>
        </p:spPr>
        <p:txBody>
          <a:bodyPr vert="horz">
            <a:normAutofit/>
          </a:bodyPr>
          <a:lstStyle>
            <a:lvl1pPr algn="ctr">
              <a:defRPr sz="4000" spc="600" baseline="0">
                <a:solidFill>
                  <a:schemeClr val="accent5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6FBF94A8-79F4-4DAF-9839-1BF9434264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5488" y="2437720"/>
            <a:ext cx="10639425" cy="13069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14790228"/>
      </p:ext>
    </p:extLst>
  </p:cSld>
  <p:clrMapOvr>
    <a:masterClrMapping/>
  </p:clrMapOvr>
  <p:hf sldNum="0" hdr="0" ftr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368510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19" y="325639"/>
            <a:ext cx="11095246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417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3244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503767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2413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7384" y="4173521"/>
            <a:ext cx="1883271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64528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21672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5" name="Espace réservé du texte 12">
            <a:extLst>
              <a:ext uri="{FF2B5EF4-FFF2-40B4-BE49-F238E27FC236}">
                <a16:creationId xmlns:a16="http://schemas.microsoft.com/office/drawing/2014/main" id="{3BCEFCCC-54C6-4599-B700-9085417904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8816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7384" y="3324481"/>
            <a:ext cx="9942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64528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121672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DF29378A-1BBE-4DAA-B775-6C67FAF7BE5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78816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30" name="Espace réservé du texte 12">
            <a:extLst>
              <a:ext uri="{FF2B5EF4-FFF2-40B4-BE49-F238E27FC236}">
                <a16:creationId xmlns:a16="http://schemas.microsoft.com/office/drawing/2014/main" id="{15C3A941-E50A-43D0-8D5A-E70D583946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35960" y="4173521"/>
            <a:ext cx="1948656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D86A4FD3-6FCB-4FD8-8807-795BD547FDC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5960" y="3324481"/>
            <a:ext cx="981571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0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26680879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95A0250-EC7F-449C-9178-A36C64B242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219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3" name="Espace réservé du texte 12">
            <a:extLst>
              <a:ext uri="{FF2B5EF4-FFF2-40B4-BE49-F238E27FC236}">
                <a16:creationId xmlns:a16="http://schemas.microsoft.com/office/drawing/2014/main" id="{FE492973-3F3C-44A2-9F63-4A0E4EEF66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493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4" name="Espace réservé du texte 12">
            <a:extLst>
              <a:ext uri="{FF2B5EF4-FFF2-40B4-BE49-F238E27FC236}">
                <a16:creationId xmlns:a16="http://schemas.microsoft.com/office/drawing/2014/main" id="{AC00A5EF-032B-4B65-9C16-D0C550EC9A8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76729" y="38433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9C28D7D-7FAA-4687-8B35-D6B382EEF4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219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6" name="Espace réservé du texte 10">
            <a:extLst>
              <a:ext uri="{FF2B5EF4-FFF2-40B4-BE49-F238E27FC236}">
                <a16:creationId xmlns:a16="http://schemas.microsoft.com/office/drawing/2014/main" id="{0E3F8EC7-1DAC-46EA-943C-9E807DBAE6D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493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7" name="Espace réservé du texte 10">
            <a:extLst>
              <a:ext uri="{FF2B5EF4-FFF2-40B4-BE49-F238E27FC236}">
                <a16:creationId xmlns:a16="http://schemas.microsoft.com/office/drawing/2014/main" id="{5D594DA8-94DC-4ED7-87B3-441F7A5A20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76729" y="30831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18" name="Espace réservé du texte 12">
            <a:extLst>
              <a:ext uri="{FF2B5EF4-FFF2-40B4-BE49-F238E27FC236}">
                <a16:creationId xmlns:a16="http://schemas.microsoft.com/office/drawing/2014/main" id="{043A2610-DC92-4E54-9923-D1D64E0BB7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219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:a16="http://schemas.microsoft.com/office/drawing/2014/main" id="{099E4FE9-A36A-4623-83F8-9A4CD5CB6D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493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0" name="Espace réservé du texte 12">
            <a:extLst>
              <a:ext uri="{FF2B5EF4-FFF2-40B4-BE49-F238E27FC236}">
                <a16:creationId xmlns:a16="http://schemas.microsoft.com/office/drawing/2014/main" id="{332C4CAF-C8B6-4365-A0B1-6645C7358CF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76729" y="54435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1" name="Espace réservé du texte 10">
            <a:extLst>
              <a:ext uri="{FF2B5EF4-FFF2-40B4-BE49-F238E27FC236}">
                <a16:creationId xmlns:a16="http://schemas.microsoft.com/office/drawing/2014/main" id="{01D1A5BB-9656-4E29-B8E6-46AD6CA6C82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219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020CBAD-51B3-4353-BF62-03582F27C88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493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23" name="Espace réservé du texte 10">
            <a:extLst>
              <a:ext uri="{FF2B5EF4-FFF2-40B4-BE49-F238E27FC236}">
                <a16:creationId xmlns:a16="http://schemas.microsoft.com/office/drawing/2014/main" id="{EAE653F5-69D2-40AA-BAB6-95401868A5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76729" y="46833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37648523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26" name="Espace réservé du texte 12">
            <a:extLst>
              <a:ext uri="{FF2B5EF4-FFF2-40B4-BE49-F238E27FC236}">
                <a16:creationId xmlns:a16="http://schemas.microsoft.com/office/drawing/2014/main" id="{8D18274F-5BAE-48EF-A005-04CE982C2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E004642F-2125-4EE5-AF91-5DE26664D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DFCE2C1A-8B46-4360-A86D-5A126247EA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:a16="http://schemas.microsoft.com/office/drawing/2014/main" id="{5543027A-C3B6-47F0-97AC-9722F64276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3913701F-BB6F-42E7-98FD-799DD04A1D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FC9B4F73-A56C-4B60-B543-2D4AC74BD75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6A4871A8-C6A6-4E62-BC87-7307333BF4F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1BE4BCAE-B980-4932-ABCA-0AABF72628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11955699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B73485A9-17A6-435D-8200-2DF05F4C7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B73485A9-17A6-435D-8200-2DF05F4C7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17AFDA40-C449-45F6-8053-C9B9E0FADAD2}"/>
              </a:ext>
            </a:extLst>
          </p:cNvPr>
          <p:cNvSpPr/>
          <p:nvPr userDrawn="1"/>
        </p:nvSpPr>
        <p:spPr>
          <a:xfrm>
            <a:off x="546020" y="2908300"/>
            <a:ext cx="11099880" cy="34036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1BF632A4-1363-45BE-9C9B-1C350D05F76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0" y="0"/>
            <a:ext cx="12192000" cy="4089400"/>
          </a:xfrm>
          <a:custGeom>
            <a:avLst/>
            <a:gdLst>
              <a:gd name="connsiteX0" fmla="*/ 0 w 12192000"/>
              <a:gd name="connsiteY0" fmla="*/ 0 h 4089400"/>
              <a:gd name="connsiteX1" fmla="*/ 12192000 w 12192000"/>
              <a:gd name="connsiteY1" fmla="*/ 0 h 4089400"/>
              <a:gd name="connsiteX2" fmla="*/ 12192000 w 12192000"/>
              <a:gd name="connsiteY2" fmla="*/ 4089400 h 4089400"/>
              <a:gd name="connsiteX3" fmla="*/ 11645900 w 12192000"/>
              <a:gd name="connsiteY3" fmla="*/ 4089400 h 4089400"/>
              <a:gd name="connsiteX4" fmla="*/ 11645900 w 12192000"/>
              <a:gd name="connsiteY4" fmla="*/ 2908300 h 4089400"/>
              <a:gd name="connsiteX5" fmla="*/ 546020 w 12192000"/>
              <a:gd name="connsiteY5" fmla="*/ 2908300 h 4089400"/>
              <a:gd name="connsiteX6" fmla="*/ 546020 w 12192000"/>
              <a:gd name="connsiteY6" fmla="*/ 4089400 h 4089400"/>
              <a:gd name="connsiteX7" fmla="*/ 0 w 12192000"/>
              <a:gd name="connsiteY7" fmla="*/ 4089400 h 408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4089400">
                <a:moveTo>
                  <a:pt x="0" y="0"/>
                </a:moveTo>
                <a:lnTo>
                  <a:pt x="12192000" y="0"/>
                </a:lnTo>
                <a:lnTo>
                  <a:pt x="12192000" y="4089400"/>
                </a:lnTo>
                <a:lnTo>
                  <a:pt x="11645900" y="4089400"/>
                </a:lnTo>
                <a:lnTo>
                  <a:pt x="11645900" y="2908300"/>
                </a:lnTo>
                <a:lnTo>
                  <a:pt x="546020" y="2908300"/>
                </a:lnTo>
                <a:lnTo>
                  <a:pt x="546020" y="4089400"/>
                </a:lnTo>
                <a:lnTo>
                  <a:pt x="0" y="40894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E7BCE36-8782-4614-BDC3-A5172C19A9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6020" y="325639"/>
            <a:ext cx="11095245" cy="1016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spc="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8A2F6933-2B74-44F2-8416-DED61E20519A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07B3012D-9E5F-4C2A-BE25-774B6C8CA273}"/>
              </a:ext>
            </a:extLst>
          </p:cNvPr>
          <p:cNvGrpSpPr/>
          <p:nvPr userDrawn="1"/>
        </p:nvGrpSpPr>
        <p:grpSpPr>
          <a:xfrm>
            <a:off x="12371453" y="0"/>
            <a:ext cx="1885826" cy="1835885"/>
            <a:chOff x="2689543" y="1651754"/>
            <a:chExt cx="1885826" cy="18358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9BEC8D51-AAA1-42FA-B9E8-AAF8DC78F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8D0B02-1833-4DBA-9652-7C44FA8DF3F9}"/>
                </a:ext>
              </a:extLst>
            </p:cNvPr>
            <p:cNvSpPr/>
            <p:nvPr/>
          </p:nvSpPr>
          <p:spPr>
            <a:xfrm>
              <a:off x="2689543" y="2010311"/>
              <a:ext cx="1885826" cy="147732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>
                <a:defRPr/>
              </a:pP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emove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the icon 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n the center of the gray block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Select the visual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&gt; “background”</a:t>
              </a:r>
            </a:p>
          </p:txBody>
        </p:sp>
      </p:grpSp>
      <p:sp>
        <p:nvSpPr>
          <p:cNvPr id="52" name="Espace réservé du texte 12">
            <a:extLst>
              <a:ext uri="{FF2B5EF4-FFF2-40B4-BE49-F238E27FC236}">
                <a16:creationId xmlns:a16="http://schemas.microsoft.com/office/drawing/2014/main" id="{0D93981F-5062-49C4-A3F4-AE1ADC81F0C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96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3" name="Espace réservé du texte 12">
            <a:extLst>
              <a:ext uri="{FF2B5EF4-FFF2-40B4-BE49-F238E27FC236}">
                <a16:creationId xmlns:a16="http://schemas.microsoft.com/office/drawing/2014/main" id="{AB9692FA-049A-4090-BF60-E7B3899114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5904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4" name="Espace réservé du texte 12">
            <a:extLst>
              <a:ext uri="{FF2B5EF4-FFF2-40B4-BE49-F238E27FC236}">
                <a16:creationId xmlns:a16="http://schemas.microsoft.com/office/drawing/2014/main" id="{C58C462D-1727-4215-959E-737D016E94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12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5" name="Espace réservé du texte 12">
            <a:extLst>
              <a:ext uri="{FF2B5EF4-FFF2-40B4-BE49-F238E27FC236}">
                <a16:creationId xmlns:a16="http://schemas.microsoft.com/office/drawing/2014/main" id="{B5A6FD28-4373-425E-8426-6ADBD72C48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37129" y="54816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56" name="Espace réservé du texte 10">
            <a:extLst>
              <a:ext uri="{FF2B5EF4-FFF2-40B4-BE49-F238E27FC236}">
                <a16:creationId xmlns:a16="http://schemas.microsoft.com/office/drawing/2014/main" id="{2C062820-86CD-4DD8-935C-8C91756DBC0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96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0B715A53-939B-4A6A-909A-A8321C63E4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904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8" name="Espace réservé du texte 10">
            <a:extLst>
              <a:ext uri="{FF2B5EF4-FFF2-40B4-BE49-F238E27FC236}">
                <a16:creationId xmlns:a16="http://schemas.microsoft.com/office/drawing/2014/main" id="{8BC307AC-DC4F-449B-A6F8-24B6C32003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812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8D0311B9-0FA3-4A0B-96F8-03DF0711D4A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37129" y="46325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0" name="Espace réservé du texte 12">
            <a:extLst>
              <a:ext uri="{FF2B5EF4-FFF2-40B4-BE49-F238E27FC236}">
                <a16:creationId xmlns:a16="http://schemas.microsoft.com/office/drawing/2014/main" id="{DCC34714-3C83-4C1E-8461-711A62ECA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96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1" name="Espace réservé du texte 12">
            <a:extLst>
              <a:ext uri="{FF2B5EF4-FFF2-40B4-BE49-F238E27FC236}">
                <a16:creationId xmlns:a16="http://schemas.microsoft.com/office/drawing/2014/main" id="{9F6C5696-22FF-4A97-B8B5-7277A63E81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04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2" name="Espace réservé du texte 12">
            <a:extLst>
              <a:ext uri="{FF2B5EF4-FFF2-40B4-BE49-F238E27FC236}">
                <a16:creationId xmlns:a16="http://schemas.microsoft.com/office/drawing/2014/main" id="{9A79A960-6099-427D-B4BA-1E35C3CFA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12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3" name="Espace réservé du texte 12">
            <a:extLst>
              <a:ext uri="{FF2B5EF4-FFF2-40B4-BE49-F238E27FC236}">
                <a16:creationId xmlns:a16="http://schemas.microsoft.com/office/drawing/2014/main" id="{DF8B4503-4E75-4AF7-84D5-785F530E121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37129" y="3894121"/>
            <a:ext cx="2278969" cy="700087"/>
          </a:xfrm>
          <a:noFill/>
        </p:spPr>
        <p:txBody>
          <a:bodyPr lIns="72000" anchor="t">
            <a:noAutofit/>
          </a:bodyPr>
          <a:lstStyle>
            <a:lvl1pPr marL="0" indent="0">
              <a:spcBef>
                <a:spcPts val="0"/>
              </a:spcBef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THE CHAPTER</a:t>
            </a:r>
          </a:p>
        </p:txBody>
      </p:sp>
      <p:sp>
        <p:nvSpPr>
          <p:cNvPr id="64" name="Espace réservé du texte 10">
            <a:extLst>
              <a:ext uri="{FF2B5EF4-FFF2-40B4-BE49-F238E27FC236}">
                <a16:creationId xmlns:a16="http://schemas.microsoft.com/office/drawing/2014/main" id="{B12C813C-8C72-4952-A250-5A073A7FB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996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1A116434-159C-4DE8-8A97-696FE868C07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5904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6" name="Espace réservé du texte 10">
            <a:extLst>
              <a:ext uri="{FF2B5EF4-FFF2-40B4-BE49-F238E27FC236}">
                <a16:creationId xmlns:a16="http://schemas.microsoft.com/office/drawing/2014/main" id="{9FC6768E-BD8A-4E51-BDFE-466F95B9AA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812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586304D2-CB9B-4871-82C6-F8F7F72433A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37129" y="3045081"/>
            <a:ext cx="1691699" cy="700088"/>
          </a:xfrm>
        </p:spPr>
        <p:txBody>
          <a:bodyPr lIns="72000" tIns="900000" bIns="0" anchor="b">
            <a:noAutofit/>
          </a:bodyPr>
          <a:lstStyle>
            <a:lvl1pPr marL="0" indent="0" algn="l">
              <a:buNone/>
              <a:defRPr sz="4800" b="1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8406312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1D1F5E85-BDB9-41BD-AF2D-AB4C7B43A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1D1F5E85-BDB9-41BD-AF2D-AB4C7B43A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>
            <a:extLst>
              <a:ext uri="{FF2B5EF4-FFF2-40B4-BE49-F238E27FC236}">
                <a16:creationId xmlns:a16="http://schemas.microsoft.com/office/drawing/2014/main" id="{1E236246-1280-49B8-9ED1-116887064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9" y="398398"/>
            <a:ext cx="2460341" cy="82700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4BFDEFE6-D208-4885-B85D-5D9A525F50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4513" y="1528108"/>
            <a:ext cx="5551487" cy="2013523"/>
          </a:xfrm>
        </p:spPr>
        <p:txBody>
          <a:bodyPr anchor="b">
            <a:normAutofit/>
          </a:bodyPr>
          <a:lstStyle>
            <a:lvl1pPr marL="0" indent="0">
              <a:buNone/>
              <a:defRPr sz="5400" b="0" spc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DB4979E-78BC-4656-948B-AC93C7FD1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4513" y="3584575"/>
            <a:ext cx="5551487" cy="2395311"/>
          </a:xfrm>
        </p:spPr>
        <p:txBody>
          <a:bodyPr>
            <a:normAutofit/>
          </a:bodyPr>
          <a:lstStyle>
            <a:lvl1pPr marL="0" indent="0">
              <a:buNone/>
              <a:defRPr sz="3200" spc="0" baseline="0"/>
            </a:lvl1pPr>
          </a:lstStyle>
          <a:p>
            <a:pPr lvl="0"/>
            <a:r>
              <a:rPr lang="en-GB" dirty="0"/>
              <a:t>OF THE CHAPTER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39E17A-8299-4A4C-8ECC-398C48A648E5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4867566" y="1651754"/>
            <a:chExt cx="1885826" cy="1528108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A3C02829-481A-40D4-8DE2-69D7CBE30E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54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E4E3199-996F-4349-B520-77FBABF5BFA5}"/>
                </a:ext>
              </a:extLst>
            </p:cNvPr>
            <p:cNvSpPr/>
            <p:nvPr/>
          </p:nvSpPr>
          <p:spPr>
            <a:xfrm>
              <a:off x="4867566" y="2010311"/>
              <a:ext cx="1885826" cy="1169551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lvl="0"/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To change the </a:t>
              </a:r>
              <a:r>
                <a:rPr lang="fr-FR" sz="1000" b="1" dirty="0" err="1">
                  <a:solidFill>
                    <a:schemeClr val="tx2"/>
                  </a:solidFill>
                  <a:latin typeface="+mj-lt"/>
                </a:rPr>
                <a:t>visual</a:t>
              </a:r>
              <a:r>
                <a:rPr lang="fr-FR" sz="1000" b="1" dirty="0">
                  <a:solidFill>
                    <a:schemeClr val="tx2"/>
                  </a:solidFill>
                  <a:latin typeface="+mj-lt"/>
                </a:rPr>
                <a:t>: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Right click on the slide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Click on “Format Background”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Import a visual</a:t>
              </a:r>
              <a:br>
                <a:rPr lang="en-US" sz="1000" dirty="0">
                  <a:solidFill>
                    <a:schemeClr val="tx1"/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/>
                  </a:solidFill>
                  <a:latin typeface="+mj-lt"/>
                </a:rPr>
                <a:t>from your computer (1920x1080px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951084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D4915F1-FC93-4210-ADC2-9457188EE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D4915F1-FC93-4210-ADC2-9457188EE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2A1AAB78-EBCA-47B3-BABA-06AFAC549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1529" y="440971"/>
            <a:ext cx="10942471" cy="480131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5EF71F-DF49-4C45-8DAD-4185C75832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1447800"/>
            <a:ext cx="11264900" cy="4572000"/>
          </a:xfrm>
        </p:spPr>
        <p:txBody>
          <a:bodyPr/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538D3BC8-90C2-4521-956D-E01AE9E8FD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6580610"/>
            <a:ext cx="10642600" cy="189283"/>
          </a:xfrm>
        </p:spPr>
        <p:txBody>
          <a:bodyPr wrap="square" anchor="b">
            <a:spAutoFit/>
          </a:bodyPr>
          <a:lstStyle>
            <a:lvl1pPr marL="88900" indent="-88900" algn="r">
              <a:buFont typeface="+mj-lt"/>
              <a:buAutoNum type="arabicPeriod"/>
              <a:defRPr sz="700" b="0" cap="none" spc="0" baseline="0"/>
            </a:lvl1pPr>
          </a:lstStyle>
          <a:p>
            <a:pPr lvl="0"/>
            <a:r>
              <a:rPr lang="en-GB" dirty="0"/>
              <a:t>Click here to insert footnotes</a:t>
            </a: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898B08C9-6E53-490D-9DCC-1A12C888DE6F}"/>
              </a:ext>
            </a:extLst>
          </p:cNvPr>
          <p:cNvGrpSpPr/>
          <p:nvPr userDrawn="1"/>
        </p:nvGrpSpPr>
        <p:grpSpPr>
          <a:xfrm>
            <a:off x="12371453" y="0"/>
            <a:ext cx="1885826" cy="1528108"/>
            <a:chOff x="7045594" y="2588002"/>
            <a:chExt cx="1885826" cy="1528108"/>
          </a:xfrm>
        </p:grpSpPr>
        <p:grpSp>
          <p:nvGrpSpPr>
            <p:cNvPr id="16" name="Groupe 15">
              <a:extLst>
                <a:ext uri="{FF2B5EF4-FFF2-40B4-BE49-F238E27FC236}">
                  <a16:creationId xmlns:a16="http://schemas.microsoft.com/office/drawing/2014/main" id="{C18F90D9-B6E8-42F1-8187-ABD8D4A50468}"/>
                </a:ext>
              </a:extLst>
            </p:cNvPr>
            <p:cNvGrpSpPr/>
            <p:nvPr/>
          </p:nvGrpSpPr>
          <p:grpSpPr>
            <a:xfrm>
              <a:off x="7045594" y="2588002"/>
              <a:ext cx="1885826" cy="1528108"/>
              <a:chOff x="2689543" y="1651754"/>
              <a:chExt cx="1885826" cy="1528108"/>
            </a:xfrm>
          </p:grpSpPr>
          <p:sp>
            <p:nvSpPr>
              <p:cNvPr id="19" name="Freeform 5">
                <a:extLst>
                  <a:ext uri="{FF2B5EF4-FFF2-40B4-BE49-F238E27FC236}">
                    <a16:creationId xmlns:a16="http://schemas.microsoft.com/office/drawing/2014/main" id="{AECE9EBF-7C25-4AED-85E4-1F1BA0EF5A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731" y="1651754"/>
                <a:ext cx="425450" cy="425450"/>
              </a:xfrm>
              <a:custGeom>
                <a:avLst/>
                <a:gdLst>
                  <a:gd name="T0" fmla="*/ 173 w 346"/>
                  <a:gd name="T1" fmla="*/ 0 h 346"/>
                  <a:gd name="T2" fmla="*/ 0 w 346"/>
                  <a:gd name="T3" fmla="*/ 173 h 346"/>
                  <a:gd name="T4" fmla="*/ 173 w 346"/>
                  <a:gd name="T5" fmla="*/ 346 h 346"/>
                  <a:gd name="T6" fmla="*/ 346 w 346"/>
                  <a:gd name="T7" fmla="*/ 173 h 346"/>
                  <a:gd name="T8" fmla="*/ 173 w 346"/>
                  <a:gd name="T9" fmla="*/ 0 h 346"/>
                  <a:gd name="T10" fmla="*/ 201 w 346"/>
                  <a:gd name="T11" fmla="*/ 247 h 346"/>
                  <a:gd name="T12" fmla="*/ 128 w 346"/>
                  <a:gd name="T13" fmla="*/ 290 h 346"/>
                  <a:gd name="T14" fmla="*/ 111 w 346"/>
                  <a:gd name="T15" fmla="*/ 278 h 346"/>
                  <a:gd name="T16" fmla="*/ 112 w 346"/>
                  <a:gd name="T17" fmla="*/ 272 h 346"/>
                  <a:gd name="T18" fmla="*/ 153 w 346"/>
                  <a:gd name="T19" fmla="*/ 172 h 346"/>
                  <a:gd name="T20" fmla="*/ 150 w 346"/>
                  <a:gd name="T21" fmla="*/ 165 h 346"/>
                  <a:gd name="T22" fmla="*/ 126 w 346"/>
                  <a:gd name="T23" fmla="*/ 175 h 346"/>
                  <a:gd name="T24" fmla="*/ 121 w 346"/>
                  <a:gd name="T25" fmla="*/ 173 h 346"/>
                  <a:gd name="T26" fmla="*/ 126 w 346"/>
                  <a:gd name="T27" fmla="*/ 163 h 346"/>
                  <a:gd name="T28" fmla="*/ 195 w 346"/>
                  <a:gd name="T29" fmla="*/ 128 h 346"/>
                  <a:gd name="T30" fmla="*/ 205 w 346"/>
                  <a:gd name="T31" fmla="*/ 141 h 346"/>
                  <a:gd name="T32" fmla="*/ 201 w 346"/>
                  <a:gd name="T33" fmla="*/ 154 h 346"/>
                  <a:gd name="T34" fmla="*/ 164 w 346"/>
                  <a:gd name="T35" fmla="*/ 247 h 346"/>
                  <a:gd name="T36" fmla="*/ 169 w 346"/>
                  <a:gd name="T37" fmla="*/ 252 h 346"/>
                  <a:gd name="T38" fmla="*/ 196 w 346"/>
                  <a:gd name="T39" fmla="*/ 235 h 346"/>
                  <a:gd name="T40" fmla="*/ 204 w 346"/>
                  <a:gd name="T41" fmla="*/ 231 h 346"/>
                  <a:gd name="T42" fmla="*/ 207 w 346"/>
                  <a:gd name="T43" fmla="*/ 234 h 346"/>
                  <a:gd name="T44" fmla="*/ 201 w 346"/>
                  <a:gd name="T45" fmla="*/ 247 h 346"/>
                  <a:gd name="T46" fmla="*/ 192 w 346"/>
                  <a:gd name="T47" fmla="*/ 98 h 346"/>
                  <a:gd name="T48" fmla="*/ 182 w 346"/>
                  <a:gd name="T49" fmla="*/ 95 h 346"/>
                  <a:gd name="T50" fmla="*/ 173 w 346"/>
                  <a:gd name="T51" fmla="*/ 76 h 346"/>
                  <a:gd name="T52" fmla="*/ 186 w 346"/>
                  <a:gd name="T53" fmla="*/ 52 h 346"/>
                  <a:gd name="T54" fmla="*/ 198 w 346"/>
                  <a:gd name="T55" fmla="*/ 48 h 346"/>
                  <a:gd name="T56" fmla="*/ 219 w 346"/>
                  <a:gd name="T57" fmla="*/ 70 h 346"/>
                  <a:gd name="T58" fmla="*/ 192 w 346"/>
                  <a:gd name="T59" fmla="*/ 9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" h="346">
                    <a:moveTo>
                      <a:pt x="173" y="0"/>
                    </a:moveTo>
                    <a:cubicBezTo>
                      <a:pt x="78" y="0"/>
                      <a:pt x="0" y="78"/>
                      <a:pt x="0" y="173"/>
                    </a:cubicBezTo>
                    <a:cubicBezTo>
                      <a:pt x="0" y="268"/>
                      <a:pt x="78" y="346"/>
                      <a:pt x="173" y="346"/>
                    </a:cubicBezTo>
                    <a:cubicBezTo>
                      <a:pt x="268" y="346"/>
                      <a:pt x="346" y="268"/>
                      <a:pt x="346" y="173"/>
                    </a:cubicBezTo>
                    <a:cubicBezTo>
                      <a:pt x="346" y="78"/>
                      <a:pt x="268" y="0"/>
                      <a:pt x="173" y="0"/>
                    </a:cubicBezTo>
                    <a:close/>
                    <a:moveTo>
                      <a:pt x="201" y="247"/>
                    </a:moveTo>
                    <a:cubicBezTo>
                      <a:pt x="182" y="270"/>
                      <a:pt x="143" y="290"/>
                      <a:pt x="128" y="290"/>
                    </a:cubicBezTo>
                    <a:cubicBezTo>
                      <a:pt x="122" y="290"/>
                      <a:pt x="111" y="284"/>
                      <a:pt x="111" y="278"/>
                    </a:cubicBezTo>
                    <a:cubicBezTo>
                      <a:pt x="111" y="276"/>
                      <a:pt x="111" y="276"/>
                      <a:pt x="112" y="272"/>
                    </a:cubicBezTo>
                    <a:cubicBezTo>
                      <a:pt x="126" y="238"/>
                      <a:pt x="138" y="213"/>
                      <a:pt x="153" y="172"/>
                    </a:cubicBezTo>
                    <a:cubicBezTo>
                      <a:pt x="154" y="169"/>
                      <a:pt x="153" y="165"/>
                      <a:pt x="150" y="165"/>
                    </a:cubicBezTo>
                    <a:cubicBezTo>
                      <a:pt x="146" y="165"/>
                      <a:pt x="136" y="169"/>
                      <a:pt x="126" y="175"/>
                    </a:cubicBezTo>
                    <a:cubicBezTo>
                      <a:pt x="125" y="177"/>
                      <a:pt x="121" y="174"/>
                      <a:pt x="121" y="173"/>
                    </a:cubicBezTo>
                    <a:cubicBezTo>
                      <a:pt x="121" y="170"/>
                      <a:pt x="123" y="167"/>
                      <a:pt x="126" y="163"/>
                    </a:cubicBezTo>
                    <a:cubicBezTo>
                      <a:pt x="134" y="154"/>
                      <a:pt x="171" y="128"/>
                      <a:pt x="195" y="128"/>
                    </a:cubicBezTo>
                    <a:cubicBezTo>
                      <a:pt x="199" y="128"/>
                      <a:pt x="205" y="137"/>
                      <a:pt x="205" y="141"/>
                    </a:cubicBezTo>
                    <a:cubicBezTo>
                      <a:pt x="205" y="144"/>
                      <a:pt x="202" y="151"/>
                      <a:pt x="201" y="154"/>
                    </a:cubicBezTo>
                    <a:cubicBezTo>
                      <a:pt x="182" y="197"/>
                      <a:pt x="176" y="218"/>
                      <a:pt x="164" y="247"/>
                    </a:cubicBezTo>
                    <a:cubicBezTo>
                      <a:pt x="163" y="251"/>
                      <a:pt x="166" y="252"/>
                      <a:pt x="169" y="252"/>
                    </a:cubicBezTo>
                    <a:cubicBezTo>
                      <a:pt x="172" y="252"/>
                      <a:pt x="182" y="247"/>
                      <a:pt x="196" y="235"/>
                    </a:cubicBezTo>
                    <a:cubicBezTo>
                      <a:pt x="201" y="231"/>
                      <a:pt x="202" y="231"/>
                      <a:pt x="204" y="231"/>
                    </a:cubicBezTo>
                    <a:cubicBezTo>
                      <a:pt x="205" y="231"/>
                      <a:pt x="207" y="232"/>
                      <a:pt x="207" y="234"/>
                    </a:cubicBezTo>
                    <a:cubicBezTo>
                      <a:pt x="207" y="237"/>
                      <a:pt x="205" y="242"/>
                      <a:pt x="201" y="247"/>
                    </a:cubicBezTo>
                    <a:close/>
                    <a:moveTo>
                      <a:pt x="192" y="98"/>
                    </a:moveTo>
                    <a:cubicBezTo>
                      <a:pt x="188" y="98"/>
                      <a:pt x="185" y="96"/>
                      <a:pt x="182" y="95"/>
                    </a:cubicBezTo>
                    <a:cubicBezTo>
                      <a:pt x="177" y="91"/>
                      <a:pt x="173" y="85"/>
                      <a:pt x="173" y="76"/>
                    </a:cubicBezTo>
                    <a:cubicBezTo>
                      <a:pt x="173" y="65"/>
                      <a:pt x="179" y="57"/>
                      <a:pt x="186" y="52"/>
                    </a:cubicBezTo>
                    <a:cubicBezTo>
                      <a:pt x="190" y="49"/>
                      <a:pt x="195" y="48"/>
                      <a:pt x="198" y="48"/>
                    </a:cubicBezTo>
                    <a:cubicBezTo>
                      <a:pt x="213" y="48"/>
                      <a:pt x="219" y="59"/>
                      <a:pt x="219" y="70"/>
                    </a:cubicBezTo>
                    <a:cubicBezTo>
                      <a:pt x="219" y="82"/>
                      <a:pt x="206" y="98"/>
                      <a:pt x="192" y="98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57BB8EE-FF58-45C4-B599-6CE7B71C3B3E}"/>
                  </a:ext>
                </a:extLst>
              </p:cNvPr>
              <p:cNvSpPr/>
              <p:nvPr/>
            </p:nvSpPr>
            <p:spPr>
              <a:xfrm>
                <a:off x="2689543" y="2010311"/>
                <a:ext cx="1885826" cy="1169551"/>
              </a:xfrm>
              <a:prstGeom prst="rect">
                <a:avLst/>
              </a:prstGeom>
              <a:solidFill>
                <a:srgbClr val="F2F2F2"/>
              </a:solidFill>
              <a:ln>
                <a:noFill/>
              </a:ln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To switch from one chip level to another</a:t>
                </a:r>
                <a:r>
                  <a:rPr kumimoji="0" lang="fr-FR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Select the desired line and use the tab forward or backward</a:t>
                </a: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5D1479B-88A6-4544-9D89-36F6FBF14F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02328" y="3836030"/>
              <a:ext cx="180768" cy="199216"/>
            </a:xfrm>
            <a:prstGeom prst="rect">
              <a:avLst/>
            </a:prstGeom>
          </p:spPr>
        </p:pic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67976A57-37A2-4A13-820B-DE094F8122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210" y="3836030"/>
              <a:ext cx="180768" cy="1992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881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26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1.xml"/><Relationship Id="rId21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slideLayout" Target="../slideLayouts/slideLayout233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slideLayout" Target="../slideLayouts/slideLayout228.xml"/><Relationship Id="rId29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24" Type="http://schemas.openxmlformats.org/officeDocument/2006/relationships/slideLayout" Target="../slideLayouts/slideLayout232.xml"/><Relationship Id="rId32" Type="http://schemas.openxmlformats.org/officeDocument/2006/relationships/oleObject" Target="../embeddings/oleObject208.bin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slideLayout" Target="../slideLayouts/slideLayout231.xml"/><Relationship Id="rId28" Type="http://schemas.openxmlformats.org/officeDocument/2006/relationships/slideLayout" Target="../slideLayouts/slideLayout236.xml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31" Type="http://schemas.openxmlformats.org/officeDocument/2006/relationships/tags" Target="../tags/tag209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slideLayout" Target="../slideLayouts/slideLayout230.xml"/><Relationship Id="rId27" Type="http://schemas.openxmlformats.org/officeDocument/2006/relationships/slideLayout" Target="../slideLayouts/slideLayout235.xml"/><Relationship Id="rId30" Type="http://schemas.openxmlformats.org/officeDocument/2006/relationships/theme" Target="../theme/theme10.xml"/><Relationship Id="rId8" Type="http://schemas.openxmlformats.org/officeDocument/2006/relationships/slideLayout" Target="../slideLayouts/slideLayout21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5.xml"/><Relationship Id="rId26" Type="http://schemas.openxmlformats.org/officeDocument/2006/relationships/theme" Target="../theme/theme11.xml"/><Relationship Id="rId3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58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4.xml"/><Relationship Id="rId25" Type="http://schemas.openxmlformats.org/officeDocument/2006/relationships/slideLayout" Target="../slideLayouts/slideLayout262.xml"/><Relationship Id="rId2" Type="http://schemas.openxmlformats.org/officeDocument/2006/relationships/slideLayout" Target="../slideLayouts/slideLayout239.xml"/><Relationship Id="rId16" Type="http://schemas.openxmlformats.org/officeDocument/2006/relationships/slideLayout" Target="../slideLayouts/slideLayout253.xml"/><Relationship Id="rId20" Type="http://schemas.openxmlformats.org/officeDocument/2006/relationships/slideLayout" Target="../slideLayouts/slideLayout257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24" Type="http://schemas.openxmlformats.org/officeDocument/2006/relationships/slideLayout" Target="../slideLayouts/slideLayout261.xml"/><Relationship Id="rId5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2.xml"/><Relationship Id="rId23" Type="http://schemas.openxmlformats.org/officeDocument/2006/relationships/slideLayout" Target="../slideLayouts/slideLayout260.xml"/><Relationship Id="rId28" Type="http://schemas.openxmlformats.org/officeDocument/2006/relationships/oleObject" Target="../embeddings/oleObject231.bin"/><Relationship Id="rId10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Relationship Id="rId22" Type="http://schemas.openxmlformats.org/officeDocument/2006/relationships/slideLayout" Target="../slideLayouts/slideLayout259.xml"/><Relationship Id="rId27" Type="http://schemas.openxmlformats.org/officeDocument/2006/relationships/tags" Target="../tags/tag2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oleObject" Target="../embeddings/oleObject24.bin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25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oleObject" Target="../embeddings/oleObject47.bin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tags" Target="../tags/tag48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oleObject" Target="../embeddings/oleObject70.bin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tags" Target="../tags/tag71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29" Type="http://schemas.openxmlformats.org/officeDocument/2006/relationships/tags" Target="../tags/tag94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oleObject" Target="../embeddings/oleObject9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20.xml"/><Relationship Id="rId21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oleObject" Target="../embeddings/oleObject116.bin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24" Type="http://schemas.openxmlformats.org/officeDocument/2006/relationships/tags" Target="../tags/tag117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23" Type="http://schemas.openxmlformats.org/officeDocument/2006/relationships/theme" Target="../theme/theme6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26" Type="http://schemas.openxmlformats.org/officeDocument/2006/relationships/tags" Target="../tags/tag140.xml"/><Relationship Id="rId3" Type="http://schemas.openxmlformats.org/officeDocument/2006/relationships/slideLayout" Target="../slideLayouts/slideLayout142.xml"/><Relationship Id="rId21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5" Type="http://schemas.openxmlformats.org/officeDocument/2006/relationships/theme" Target="../theme/theme7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24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23" Type="http://schemas.openxmlformats.org/officeDocument/2006/relationships/slideLayout" Target="../slideLayouts/slideLayout16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slideLayout" Target="../slideLayouts/slideLayout161.xml"/><Relationship Id="rId27" Type="http://schemas.openxmlformats.org/officeDocument/2006/relationships/oleObject" Target="../embeddings/oleObject139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26" Type="http://schemas.openxmlformats.org/officeDocument/2006/relationships/oleObject" Target="../embeddings/oleObject162.bin"/><Relationship Id="rId3" Type="http://schemas.openxmlformats.org/officeDocument/2006/relationships/slideLayout" Target="../slideLayouts/slideLayout166.xml"/><Relationship Id="rId21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25" Type="http://schemas.openxmlformats.org/officeDocument/2006/relationships/tags" Target="../tags/tag163.xml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23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Relationship Id="rId22" Type="http://schemas.openxmlformats.org/officeDocument/2006/relationships/slideLayout" Target="../slideLayouts/slideLayout185.xml"/><Relationship Id="rId27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89.xml"/><Relationship Id="rId21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oleObject" Target="../embeddings/oleObject185.bin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0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24" Type="http://schemas.openxmlformats.org/officeDocument/2006/relationships/tags" Target="../tags/tag186.xml"/><Relationship Id="rId5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1.xml"/><Relationship Id="rId23" Type="http://schemas.openxmlformats.org/officeDocument/2006/relationships/theme" Target="../theme/theme9.xml"/><Relationship Id="rId10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143667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" imgW="425" imgH="424" progId="TCLayout.ActiveDocument.1">
                  <p:embed/>
                </p:oleObj>
              </mc:Choice>
              <mc:Fallback>
                <p:oleObj name="Diapositive think-cell" r:id="rId2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362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823" r:id="rId2"/>
    <p:sldLayoutId id="2147483814" r:id="rId3"/>
    <p:sldLayoutId id="2147483824" r:id="rId4"/>
    <p:sldLayoutId id="2147483825" r:id="rId5"/>
    <p:sldLayoutId id="2147483827" r:id="rId6"/>
    <p:sldLayoutId id="2147483826" r:id="rId7"/>
    <p:sldLayoutId id="2147483813" r:id="rId8"/>
    <p:sldLayoutId id="2147483815" r:id="rId9"/>
    <p:sldLayoutId id="2147483828" r:id="rId10"/>
    <p:sldLayoutId id="2147483817" r:id="rId11"/>
    <p:sldLayoutId id="2147483829" r:id="rId12"/>
    <p:sldLayoutId id="2147483833" r:id="rId13"/>
    <p:sldLayoutId id="2147483834" r:id="rId14"/>
    <p:sldLayoutId id="2147483818" r:id="rId15"/>
    <p:sldLayoutId id="2147483819" r:id="rId16"/>
    <p:sldLayoutId id="2147483830" r:id="rId17"/>
    <p:sldLayoutId id="2147483820" r:id="rId18"/>
    <p:sldLayoutId id="2147483831" r:id="rId19"/>
    <p:sldLayoutId id="2147483821" r:id="rId20"/>
    <p:sldLayoutId id="2147483822" r:id="rId21"/>
    <p:sldLayoutId id="2147483832" r:id="rId2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143667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2" imgW="425" imgH="424" progId="TCLayout.ActiveDocument.1">
                  <p:embed/>
                </p:oleObj>
              </mc:Choice>
              <mc:Fallback>
                <p:oleObj name="Diapositive think-cell" r:id="rId32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2676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  <p:sldLayoutId id="2147484072" r:id="rId12"/>
    <p:sldLayoutId id="2147484073" r:id="rId13"/>
    <p:sldLayoutId id="2147484074" r:id="rId14"/>
    <p:sldLayoutId id="2147484075" r:id="rId15"/>
    <p:sldLayoutId id="2147484076" r:id="rId16"/>
    <p:sldLayoutId id="2147484077" r:id="rId17"/>
    <p:sldLayoutId id="2147484078" r:id="rId18"/>
    <p:sldLayoutId id="2147484079" r:id="rId19"/>
    <p:sldLayoutId id="2147484080" r:id="rId20"/>
    <p:sldLayoutId id="2147484081" r:id="rId21"/>
    <p:sldLayoutId id="2147484082" r:id="rId22"/>
    <p:sldLayoutId id="2147484083" r:id="rId23"/>
    <p:sldLayoutId id="2147484084" r:id="rId24"/>
    <p:sldLayoutId id="2147484085" r:id="rId25"/>
    <p:sldLayoutId id="2147484086" r:id="rId26"/>
    <p:sldLayoutId id="2147484087" r:id="rId27"/>
    <p:sldLayoutId id="2147484088" r:id="rId28"/>
    <p:sldLayoutId id="2147484089" r:id="rId29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8" imgW="425" imgH="424" progId="TCLayout.ActiveDocument.1">
                  <p:embed/>
                </p:oleObj>
              </mc:Choice>
              <mc:Fallback>
                <p:oleObj name="Diapositive think-cell" r:id="rId28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808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04" r:id="rId14"/>
    <p:sldLayoutId id="2147484105" r:id="rId15"/>
    <p:sldLayoutId id="2147484106" r:id="rId16"/>
    <p:sldLayoutId id="2147484107" r:id="rId17"/>
    <p:sldLayoutId id="2147484108" r:id="rId18"/>
    <p:sldLayoutId id="2147484109" r:id="rId19"/>
    <p:sldLayoutId id="2147484110" r:id="rId20"/>
    <p:sldLayoutId id="2147484111" r:id="rId21"/>
    <p:sldLayoutId id="2147484112" r:id="rId22"/>
    <p:sldLayoutId id="2147484113" r:id="rId23"/>
    <p:sldLayoutId id="2147484114" r:id="rId24"/>
    <p:sldLayoutId id="2147484115" r:id="rId25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425" imgH="424" progId="TCLayout.ActiveDocument.1">
                  <p:embed/>
                </p:oleObj>
              </mc:Choice>
              <mc:Fallback>
                <p:oleObj name="Diapositive think-cell" r:id="rId26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93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  <p:sldLayoutId id="2147483855" r:id="rId19"/>
    <p:sldLayoutId id="2147483856" r:id="rId20"/>
    <p:sldLayoutId id="2147483857" r:id="rId21"/>
    <p:sldLayoutId id="2147483858" r:id="rId22"/>
    <p:sldLayoutId id="2147483859" r:id="rId2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" imgW="425" imgH="424" progId="TCLayout.ActiveDocument.1">
                  <p:embed/>
                </p:oleObj>
              </mc:Choice>
              <mc:Fallback>
                <p:oleObj name="Diapositive think-cell" r:id="rId25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486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  <p:sldLayoutId id="2147483882" r:id="rId2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425" imgH="424" progId="TCLayout.ActiveDocument.1">
                  <p:embed/>
                </p:oleObj>
              </mc:Choice>
              <mc:Fallback>
                <p:oleObj name="Diapositive think-cell" r:id="rId26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3842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  <p:sldLayoutId id="2147483899" r:id="rId14"/>
    <p:sldLayoutId id="2147483900" r:id="rId15"/>
    <p:sldLayoutId id="2147483901" r:id="rId16"/>
    <p:sldLayoutId id="2147483902" r:id="rId17"/>
    <p:sldLayoutId id="2147483903" r:id="rId18"/>
    <p:sldLayoutId id="2147483904" r:id="rId19"/>
    <p:sldLayoutId id="2147483905" r:id="rId20"/>
    <p:sldLayoutId id="2147483906" r:id="rId21"/>
    <p:sldLayoutId id="2147483907" r:id="rId22"/>
    <p:sldLayoutId id="2147483910" r:id="rId2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0" imgW="425" imgH="424" progId="TCLayout.ActiveDocument.1">
                  <p:embed/>
                </p:oleObj>
              </mc:Choice>
              <mc:Fallback>
                <p:oleObj name="Diapositive think-cell" r:id="rId30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6569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" imgW="425" imgH="424" progId="TCLayout.ActiveDocument.1">
                  <p:embed/>
                </p:oleObj>
              </mc:Choice>
              <mc:Fallback>
                <p:oleObj name="Diapositive think-cell" r:id="rId25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1067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  <p:sldLayoutId id="2147483971" r:id="rId7"/>
    <p:sldLayoutId id="2147483972" r:id="rId8"/>
    <p:sldLayoutId id="2147483973" r:id="rId9"/>
    <p:sldLayoutId id="2147483974" r:id="rId10"/>
    <p:sldLayoutId id="2147483975" r:id="rId11"/>
    <p:sldLayoutId id="2147483976" r:id="rId12"/>
    <p:sldLayoutId id="2147483977" r:id="rId13"/>
    <p:sldLayoutId id="2147483978" r:id="rId14"/>
    <p:sldLayoutId id="2147483979" r:id="rId15"/>
    <p:sldLayoutId id="2147483980" r:id="rId16"/>
    <p:sldLayoutId id="2147483981" r:id="rId17"/>
    <p:sldLayoutId id="2147483982" r:id="rId18"/>
    <p:sldLayoutId id="2147483983" r:id="rId19"/>
    <p:sldLayoutId id="2147483984" r:id="rId20"/>
    <p:sldLayoutId id="2147483985" r:id="rId21"/>
    <p:sldLayoutId id="2147483986" r:id="rId2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7" imgW="425" imgH="424" progId="TCLayout.ActiveDocument.1">
                  <p:embed/>
                </p:oleObj>
              </mc:Choice>
              <mc:Fallback>
                <p:oleObj name="Diapositive think-cell" r:id="rId27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369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  <p:sldLayoutId id="2147484004" r:id="rId17"/>
    <p:sldLayoutId id="2147484005" r:id="rId18"/>
    <p:sldLayoutId id="2147484006" r:id="rId19"/>
    <p:sldLayoutId id="2147484007" r:id="rId20"/>
    <p:sldLayoutId id="2147484008" r:id="rId21"/>
    <p:sldLayoutId id="2147484009" r:id="rId22"/>
    <p:sldLayoutId id="2147484010" r:id="rId23"/>
    <p:sldLayoutId id="2147484012" r:id="rId2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425" imgH="424" progId="TCLayout.ActiveDocument.1">
                  <p:embed/>
                </p:oleObj>
              </mc:Choice>
              <mc:Fallback>
                <p:oleObj name="Diapositive think-cell" r:id="rId26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5594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21" r:id="rId8"/>
    <p:sldLayoutId id="2147484022" r:id="rId9"/>
    <p:sldLayoutId id="2147484023" r:id="rId10"/>
    <p:sldLayoutId id="2147484024" r:id="rId11"/>
    <p:sldLayoutId id="2147484025" r:id="rId12"/>
    <p:sldLayoutId id="2147484026" r:id="rId13"/>
    <p:sldLayoutId id="2147484027" r:id="rId14"/>
    <p:sldLayoutId id="2147484028" r:id="rId15"/>
    <p:sldLayoutId id="2147484029" r:id="rId16"/>
    <p:sldLayoutId id="2147484030" r:id="rId17"/>
    <p:sldLayoutId id="2147484031" r:id="rId18"/>
    <p:sldLayoutId id="2147484032" r:id="rId19"/>
    <p:sldLayoutId id="2147484033" r:id="rId20"/>
    <p:sldLayoutId id="2147484034" r:id="rId21"/>
    <p:sldLayoutId id="2147484035" r:id="rId22"/>
    <p:sldLayoutId id="2147484036" r:id="rId23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C8C713C4-860B-43C3-9A59-EFC6D99D14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5" imgW="425" imgH="424" progId="TCLayout.ActiveDocument.1">
                  <p:embed/>
                </p:oleObj>
              </mc:Choice>
              <mc:Fallback>
                <p:oleObj name="Diapositive think-cell" r:id="rId25" imgW="425" imgH="42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C8C713C4-860B-43C3-9A59-EFC6D99D14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itre 1">
            <a:extLst>
              <a:ext uri="{FF2B5EF4-FFF2-40B4-BE49-F238E27FC236}">
                <a16:creationId xmlns:a16="http://schemas.microsoft.com/office/drawing/2014/main" id="{0DA339D5-0B99-4498-A083-0F394D068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1529" y="440971"/>
            <a:ext cx="10612271" cy="480131"/>
          </a:xfrm>
          <a:prstGeom prst="rect">
            <a:avLst/>
          </a:prstGeom>
        </p:spPr>
        <p:txBody>
          <a:bodyPr vert="horz" lIns="0" tIns="45720" rIns="9144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5F0E63F3-F69F-4E66-877E-094461D2F552}"/>
              </a:ext>
            </a:extLst>
          </p:cNvPr>
          <p:cNvCxnSpPr>
            <a:cxnSpLocks/>
          </p:cNvCxnSpPr>
          <p:nvPr userDrawn="1"/>
        </p:nvCxnSpPr>
        <p:spPr>
          <a:xfrm>
            <a:off x="741529" y="958574"/>
            <a:ext cx="348922" cy="0"/>
          </a:xfrm>
          <a:prstGeom prst="line">
            <a:avLst/>
          </a:prstGeom>
          <a:ln w="762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A037722-EE0A-44B4-AAC5-F14D470435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982" y="1825625"/>
            <a:ext cx="10941818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here to modify your level 01 text </a:t>
            </a:r>
          </a:p>
          <a:p>
            <a:pPr lvl="1"/>
            <a:r>
              <a:rPr lang="en-GB" dirty="0"/>
              <a:t>Level 02 text in Arial, 18 corps, without bold</a:t>
            </a:r>
          </a:p>
          <a:p>
            <a:pPr lvl="2"/>
            <a:r>
              <a:rPr lang="en-GB" dirty="0"/>
              <a:t>Level 03 text in Arial, 16 corps, without bold</a:t>
            </a:r>
          </a:p>
          <a:p>
            <a:pPr lvl="3"/>
            <a:r>
              <a:rPr lang="en-US" dirty="0"/>
              <a:t>Level 04 text in Arial, 14 corps, without bold</a:t>
            </a:r>
            <a:endParaRPr lang="en-GB" dirty="0"/>
          </a:p>
        </p:txBody>
      </p:sp>
      <p:sp>
        <p:nvSpPr>
          <p:cNvPr id="15" name="Espace réservé de la date 14">
            <a:extLst>
              <a:ext uri="{FF2B5EF4-FFF2-40B4-BE49-F238E27FC236}">
                <a16:creationId xmlns:a16="http://schemas.microsoft.com/office/drawing/2014/main" id="{A8519979-FC16-43DC-AB98-02D9DBCA88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00202" y="6358488"/>
            <a:ext cx="1991599" cy="360850"/>
          </a:xfrm>
          <a:prstGeom prst="rect">
            <a:avLst/>
          </a:prstGeom>
          <a:solidFill>
            <a:schemeClr val="bg2"/>
          </a:solidFill>
        </p:spPr>
        <p:txBody>
          <a:bodyPr vert="horz" wrap="none" lIns="144000" tIns="72000" rIns="144000" bIns="72000" rtlCol="0" anchor="ctr">
            <a:spAutoFit/>
          </a:bodyPr>
          <a:lstStyle>
            <a:lvl1pPr algn="ctr">
              <a:defRPr sz="1400" cap="all" spc="300" baseline="0">
                <a:solidFill>
                  <a:schemeClr val="bg1"/>
                </a:solidFill>
              </a:defRPr>
            </a:lvl1pPr>
          </a:lstStyle>
          <a:p>
            <a:fld id="{6C8800D7-27AF-4EE9-96FB-23865760019E}" type="datetime6">
              <a:rPr lang="en-GB" smtClean="0"/>
              <a:pPr/>
              <a:t>April 24</a:t>
            </a:fld>
            <a:endParaRPr lang="en-GB" dirty="0"/>
          </a:p>
        </p:txBody>
      </p:sp>
      <p:sp>
        <p:nvSpPr>
          <p:cNvPr id="16" name="Forme libre : forme 15">
            <a:extLst>
              <a:ext uri="{FF2B5EF4-FFF2-40B4-BE49-F238E27FC236}">
                <a16:creationId xmlns:a16="http://schemas.microsoft.com/office/drawing/2014/main" id="{DDF5DBEF-7E51-488A-B48B-168EFE76CD2F}"/>
              </a:ext>
            </a:extLst>
          </p:cNvPr>
          <p:cNvSpPr>
            <a:spLocks/>
          </p:cNvSpPr>
          <p:nvPr userDrawn="1"/>
        </p:nvSpPr>
        <p:spPr bwMode="auto">
          <a:xfrm>
            <a:off x="11149013" y="6488112"/>
            <a:ext cx="886159" cy="219074"/>
          </a:xfrm>
          <a:custGeom>
            <a:avLst/>
            <a:gdLst>
              <a:gd name="connsiteX0" fmla="*/ 809625 w 886159"/>
              <a:gd name="connsiteY0" fmla="*/ 77787 h 219074"/>
              <a:gd name="connsiteX1" fmla="*/ 885527 w 886159"/>
              <a:gd name="connsiteY1" fmla="*/ 152284 h 219074"/>
              <a:gd name="connsiteX2" fmla="*/ 882997 w 886159"/>
              <a:gd name="connsiteY2" fmla="*/ 154853 h 219074"/>
              <a:gd name="connsiteX3" fmla="*/ 776733 w 886159"/>
              <a:gd name="connsiteY3" fmla="*/ 154853 h 219074"/>
              <a:gd name="connsiteX4" fmla="*/ 776733 w 886159"/>
              <a:gd name="connsiteY4" fmla="*/ 152284 h 219074"/>
              <a:gd name="connsiteX5" fmla="*/ 776733 w 886159"/>
              <a:gd name="connsiteY5" fmla="*/ 142009 h 219074"/>
              <a:gd name="connsiteX6" fmla="*/ 776733 w 886159"/>
              <a:gd name="connsiteY6" fmla="*/ 139440 h 219074"/>
              <a:gd name="connsiteX7" fmla="*/ 855166 w 886159"/>
              <a:gd name="connsiteY7" fmla="*/ 139440 h 219074"/>
              <a:gd name="connsiteX8" fmla="*/ 809625 w 886159"/>
              <a:gd name="connsiteY8" fmla="*/ 93200 h 219074"/>
              <a:gd name="connsiteX9" fmla="*/ 759023 w 886159"/>
              <a:gd name="connsiteY9" fmla="*/ 149715 h 219074"/>
              <a:gd name="connsiteX10" fmla="*/ 822275 w 886159"/>
              <a:gd name="connsiteY10" fmla="*/ 201092 h 219074"/>
              <a:gd name="connsiteX11" fmla="*/ 870346 w 886159"/>
              <a:gd name="connsiteY11" fmla="*/ 193386 h 219074"/>
              <a:gd name="connsiteX12" fmla="*/ 870346 w 886159"/>
              <a:gd name="connsiteY12" fmla="*/ 195955 h 219074"/>
              <a:gd name="connsiteX13" fmla="*/ 862756 w 886159"/>
              <a:gd name="connsiteY13" fmla="*/ 213937 h 219074"/>
              <a:gd name="connsiteX14" fmla="*/ 817215 w 886159"/>
              <a:gd name="connsiteY14" fmla="*/ 219074 h 219074"/>
              <a:gd name="connsiteX15" fmla="*/ 728662 w 886159"/>
              <a:gd name="connsiteY15" fmla="*/ 149715 h 219074"/>
              <a:gd name="connsiteX16" fmla="*/ 809625 w 886159"/>
              <a:gd name="connsiteY16" fmla="*/ 77787 h 219074"/>
              <a:gd name="connsiteX17" fmla="*/ 662197 w 886159"/>
              <a:gd name="connsiteY17" fmla="*/ 77787 h 219074"/>
              <a:gd name="connsiteX18" fmla="*/ 717550 w 886159"/>
              <a:gd name="connsiteY18" fmla="*/ 90632 h 219074"/>
              <a:gd name="connsiteX19" fmla="*/ 707486 w 886159"/>
              <a:gd name="connsiteY19" fmla="*/ 111182 h 219074"/>
              <a:gd name="connsiteX20" fmla="*/ 704970 w 886159"/>
              <a:gd name="connsiteY20" fmla="*/ 111182 h 219074"/>
              <a:gd name="connsiteX21" fmla="*/ 664713 w 886159"/>
              <a:gd name="connsiteY21" fmla="*/ 95769 h 219074"/>
              <a:gd name="connsiteX22" fmla="*/ 614392 w 886159"/>
              <a:gd name="connsiteY22" fmla="*/ 149715 h 219074"/>
              <a:gd name="connsiteX23" fmla="*/ 664713 w 886159"/>
              <a:gd name="connsiteY23" fmla="*/ 201092 h 219074"/>
              <a:gd name="connsiteX24" fmla="*/ 699938 w 886159"/>
              <a:gd name="connsiteY24" fmla="*/ 195955 h 219074"/>
              <a:gd name="connsiteX25" fmla="*/ 702454 w 886159"/>
              <a:gd name="connsiteY25" fmla="*/ 198523 h 219074"/>
              <a:gd name="connsiteX26" fmla="*/ 692390 w 886159"/>
              <a:gd name="connsiteY26" fmla="*/ 213937 h 219074"/>
              <a:gd name="connsiteX27" fmla="*/ 662197 w 886159"/>
              <a:gd name="connsiteY27" fmla="*/ 219074 h 219074"/>
              <a:gd name="connsiteX28" fmla="*/ 584200 w 886159"/>
              <a:gd name="connsiteY28" fmla="*/ 149715 h 219074"/>
              <a:gd name="connsiteX29" fmla="*/ 662197 w 886159"/>
              <a:gd name="connsiteY29" fmla="*/ 77787 h 219074"/>
              <a:gd name="connsiteX30" fmla="*/ 476249 w 886159"/>
              <a:gd name="connsiteY30" fmla="*/ 77787 h 219074"/>
              <a:gd name="connsiteX31" fmla="*/ 557212 w 886159"/>
              <a:gd name="connsiteY31" fmla="*/ 154853 h 219074"/>
              <a:gd name="connsiteX32" fmla="*/ 557212 w 886159"/>
              <a:gd name="connsiteY32" fmla="*/ 216505 h 219074"/>
              <a:gd name="connsiteX33" fmla="*/ 554682 w 886159"/>
              <a:gd name="connsiteY33" fmla="*/ 216505 h 219074"/>
              <a:gd name="connsiteX34" fmla="*/ 526851 w 886159"/>
              <a:gd name="connsiteY34" fmla="*/ 216505 h 219074"/>
              <a:gd name="connsiteX35" fmla="*/ 524321 w 886159"/>
              <a:gd name="connsiteY35" fmla="*/ 216505 h 219074"/>
              <a:gd name="connsiteX36" fmla="*/ 524321 w 886159"/>
              <a:gd name="connsiteY36" fmla="*/ 154853 h 219074"/>
              <a:gd name="connsiteX37" fmla="*/ 476249 w 886159"/>
              <a:gd name="connsiteY37" fmla="*/ 95769 h 219074"/>
              <a:gd name="connsiteX38" fmla="*/ 428178 w 886159"/>
              <a:gd name="connsiteY38" fmla="*/ 149715 h 219074"/>
              <a:gd name="connsiteX39" fmla="*/ 473719 w 886159"/>
              <a:gd name="connsiteY39" fmla="*/ 201092 h 219074"/>
              <a:gd name="connsiteX40" fmla="*/ 499020 w 886159"/>
              <a:gd name="connsiteY40" fmla="*/ 195955 h 219074"/>
              <a:gd name="connsiteX41" fmla="*/ 501550 w 886159"/>
              <a:gd name="connsiteY41" fmla="*/ 198523 h 219074"/>
              <a:gd name="connsiteX42" fmla="*/ 496490 w 886159"/>
              <a:gd name="connsiteY42" fmla="*/ 216505 h 219074"/>
              <a:gd name="connsiteX43" fmla="*/ 471189 w 886159"/>
              <a:gd name="connsiteY43" fmla="*/ 219074 h 219074"/>
              <a:gd name="connsiteX44" fmla="*/ 395287 w 886159"/>
              <a:gd name="connsiteY44" fmla="*/ 149715 h 219074"/>
              <a:gd name="connsiteX45" fmla="*/ 476249 w 886159"/>
              <a:gd name="connsiteY45" fmla="*/ 77787 h 219074"/>
              <a:gd name="connsiteX46" fmla="*/ 202627 w 886159"/>
              <a:gd name="connsiteY46" fmla="*/ 77787 h 219074"/>
              <a:gd name="connsiteX47" fmla="*/ 282575 w 886159"/>
              <a:gd name="connsiteY47" fmla="*/ 149715 h 219074"/>
              <a:gd name="connsiteX48" fmla="*/ 200129 w 886159"/>
              <a:gd name="connsiteY48" fmla="*/ 219074 h 219074"/>
              <a:gd name="connsiteX49" fmla="*/ 130175 w 886159"/>
              <a:gd name="connsiteY49" fmla="*/ 195955 h 219074"/>
              <a:gd name="connsiteX50" fmla="*/ 145165 w 886159"/>
              <a:gd name="connsiteY50" fmla="*/ 165128 h 219074"/>
              <a:gd name="connsiteX51" fmla="*/ 147664 w 886159"/>
              <a:gd name="connsiteY51" fmla="*/ 165128 h 219074"/>
              <a:gd name="connsiteX52" fmla="*/ 200129 w 886159"/>
              <a:gd name="connsiteY52" fmla="*/ 201092 h 219074"/>
              <a:gd name="connsiteX53" fmla="*/ 250096 w 886159"/>
              <a:gd name="connsiteY53" fmla="*/ 149715 h 219074"/>
              <a:gd name="connsiteX54" fmla="*/ 202627 w 886159"/>
              <a:gd name="connsiteY54" fmla="*/ 95769 h 219074"/>
              <a:gd name="connsiteX55" fmla="*/ 175145 w 886159"/>
              <a:gd name="connsiteY55" fmla="*/ 98338 h 219074"/>
              <a:gd name="connsiteX56" fmla="*/ 172647 w 886159"/>
              <a:gd name="connsiteY56" fmla="*/ 95769 h 219074"/>
              <a:gd name="connsiteX57" fmla="*/ 180142 w 886159"/>
              <a:gd name="connsiteY57" fmla="*/ 80356 h 219074"/>
              <a:gd name="connsiteX58" fmla="*/ 202627 w 886159"/>
              <a:gd name="connsiteY58" fmla="*/ 77787 h 219074"/>
              <a:gd name="connsiteX59" fmla="*/ 82446 w 886159"/>
              <a:gd name="connsiteY59" fmla="*/ 77787 h 219074"/>
              <a:gd name="connsiteX60" fmla="*/ 152400 w 886159"/>
              <a:gd name="connsiteY60" fmla="*/ 100907 h 219074"/>
              <a:gd name="connsiteX61" fmla="*/ 137410 w 886159"/>
              <a:gd name="connsiteY61" fmla="*/ 129164 h 219074"/>
              <a:gd name="connsiteX62" fmla="*/ 132413 w 886159"/>
              <a:gd name="connsiteY62" fmla="*/ 129164 h 219074"/>
              <a:gd name="connsiteX63" fmla="*/ 82446 w 886159"/>
              <a:gd name="connsiteY63" fmla="*/ 95769 h 219074"/>
              <a:gd name="connsiteX64" fmla="*/ 32479 w 886159"/>
              <a:gd name="connsiteY64" fmla="*/ 147146 h 219074"/>
              <a:gd name="connsiteX65" fmla="*/ 79948 w 886159"/>
              <a:gd name="connsiteY65" fmla="*/ 201092 h 219074"/>
              <a:gd name="connsiteX66" fmla="*/ 107430 w 886159"/>
              <a:gd name="connsiteY66" fmla="*/ 195955 h 219074"/>
              <a:gd name="connsiteX67" fmla="*/ 109928 w 886159"/>
              <a:gd name="connsiteY67" fmla="*/ 201092 h 219074"/>
              <a:gd name="connsiteX68" fmla="*/ 102433 w 886159"/>
              <a:gd name="connsiteY68" fmla="*/ 216505 h 219074"/>
              <a:gd name="connsiteX69" fmla="*/ 79948 w 886159"/>
              <a:gd name="connsiteY69" fmla="*/ 219074 h 219074"/>
              <a:gd name="connsiteX70" fmla="*/ 0 w 886159"/>
              <a:gd name="connsiteY70" fmla="*/ 147146 h 219074"/>
              <a:gd name="connsiteX71" fmla="*/ 82446 w 886159"/>
              <a:gd name="connsiteY71" fmla="*/ 77787 h 219074"/>
              <a:gd name="connsiteX72" fmla="*/ 385676 w 886159"/>
              <a:gd name="connsiteY72" fmla="*/ 0 h 219074"/>
              <a:gd name="connsiteX73" fmla="*/ 433387 w 886159"/>
              <a:gd name="connsiteY73" fmla="*/ 10160 h 219074"/>
              <a:gd name="connsiteX74" fmla="*/ 423342 w 886159"/>
              <a:gd name="connsiteY74" fmla="*/ 30480 h 219074"/>
              <a:gd name="connsiteX75" fmla="*/ 420831 w 886159"/>
              <a:gd name="connsiteY75" fmla="*/ 30480 h 219074"/>
              <a:gd name="connsiteX76" fmla="*/ 385676 w 886159"/>
              <a:gd name="connsiteY76" fmla="*/ 17780 h 219074"/>
              <a:gd name="connsiteX77" fmla="*/ 345498 w 886159"/>
              <a:gd name="connsiteY77" fmla="*/ 63500 h 219074"/>
              <a:gd name="connsiteX78" fmla="*/ 345498 w 886159"/>
              <a:gd name="connsiteY78" fmla="*/ 83820 h 219074"/>
              <a:gd name="connsiteX79" fmla="*/ 385676 w 886159"/>
              <a:gd name="connsiteY79" fmla="*/ 83820 h 219074"/>
              <a:gd name="connsiteX80" fmla="*/ 388187 w 886159"/>
              <a:gd name="connsiteY80" fmla="*/ 86360 h 219074"/>
              <a:gd name="connsiteX81" fmla="*/ 380653 w 886159"/>
              <a:gd name="connsiteY81" fmla="*/ 96520 h 219074"/>
              <a:gd name="connsiteX82" fmla="*/ 378142 w 886159"/>
              <a:gd name="connsiteY82" fmla="*/ 99060 h 219074"/>
              <a:gd name="connsiteX83" fmla="*/ 345498 w 886159"/>
              <a:gd name="connsiteY83" fmla="*/ 99060 h 219074"/>
              <a:gd name="connsiteX84" fmla="*/ 345498 w 886159"/>
              <a:gd name="connsiteY84" fmla="*/ 215900 h 219074"/>
              <a:gd name="connsiteX85" fmla="*/ 342986 w 886159"/>
              <a:gd name="connsiteY85" fmla="*/ 215900 h 219074"/>
              <a:gd name="connsiteX86" fmla="*/ 317875 w 886159"/>
              <a:gd name="connsiteY86" fmla="*/ 215900 h 219074"/>
              <a:gd name="connsiteX87" fmla="*/ 317875 w 886159"/>
              <a:gd name="connsiteY87" fmla="*/ 99060 h 219074"/>
              <a:gd name="connsiteX88" fmla="*/ 297786 w 886159"/>
              <a:gd name="connsiteY88" fmla="*/ 99060 h 219074"/>
              <a:gd name="connsiteX89" fmla="*/ 295275 w 886159"/>
              <a:gd name="connsiteY89" fmla="*/ 96520 h 219074"/>
              <a:gd name="connsiteX90" fmla="*/ 295275 w 886159"/>
              <a:gd name="connsiteY90" fmla="*/ 86360 h 219074"/>
              <a:gd name="connsiteX91" fmla="*/ 297786 w 886159"/>
              <a:gd name="connsiteY91" fmla="*/ 83820 h 219074"/>
              <a:gd name="connsiteX92" fmla="*/ 315364 w 886159"/>
              <a:gd name="connsiteY92" fmla="*/ 83820 h 219074"/>
              <a:gd name="connsiteX93" fmla="*/ 315364 w 886159"/>
              <a:gd name="connsiteY93" fmla="*/ 68580 h 219074"/>
              <a:gd name="connsiteX94" fmla="*/ 385676 w 886159"/>
              <a:gd name="connsiteY94" fmla="*/ 0 h 219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886159" h="219074">
                <a:moveTo>
                  <a:pt x="809625" y="77787"/>
                </a:moveTo>
                <a:cubicBezTo>
                  <a:pt x="865286" y="77787"/>
                  <a:pt x="890587" y="113751"/>
                  <a:pt x="885527" y="152284"/>
                </a:cubicBezTo>
                <a:cubicBezTo>
                  <a:pt x="885527" y="154853"/>
                  <a:pt x="885527" y="154853"/>
                  <a:pt x="882997" y="154853"/>
                </a:cubicBezTo>
                <a:cubicBezTo>
                  <a:pt x="882997" y="154853"/>
                  <a:pt x="882997" y="154853"/>
                  <a:pt x="776733" y="154853"/>
                </a:cubicBezTo>
                <a:cubicBezTo>
                  <a:pt x="776733" y="154853"/>
                  <a:pt x="776733" y="154853"/>
                  <a:pt x="776733" y="152284"/>
                </a:cubicBezTo>
                <a:cubicBezTo>
                  <a:pt x="776733" y="152284"/>
                  <a:pt x="776733" y="152284"/>
                  <a:pt x="776733" y="142009"/>
                </a:cubicBezTo>
                <a:cubicBezTo>
                  <a:pt x="776733" y="142009"/>
                  <a:pt x="776733" y="139440"/>
                  <a:pt x="776733" y="139440"/>
                </a:cubicBezTo>
                <a:cubicBezTo>
                  <a:pt x="776733" y="139440"/>
                  <a:pt x="776733" y="139440"/>
                  <a:pt x="855166" y="139440"/>
                </a:cubicBezTo>
                <a:cubicBezTo>
                  <a:pt x="857696" y="118889"/>
                  <a:pt x="842516" y="93200"/>
                  <a:pt x="809625" y="93200"/>
                </a:cubicBezTo>
                <a:cubicBezTo>
                  <a:pt x="776733" y="93200"/>
                  <a:pt x="759023" y="113751"/>
                  <a:pt x="759023" y="149715"/>
                </a:cubicBezTo>
                <a:cubicBezTo>
                  <a:pt x="759023" y="183110"/>
                  <a:pt x="781794" y="201092"/>
                  <a:pt x="822275" y="201092"/>
                </a:cubicBezTo>
                <a:cubicBezTo>
                  <a:pt x="842516" y="201092"/>
                  <a:pt x="857696" y="198523"/>
                  <a:pt x="870346" y="193386"/>
                </a:cubicBezTo>
                <a:cubicBezTo>
                  <a:pt x="870346" y="193386"/>
                  <a:pt x="872876" y="195955"/>
                  <a:pt x="870346" y="195955"/>
                </a:cubicBezTo>
                <a:cubicBezTo>
                  <a:pt x="870346" y="195955"/>
                  <a:pt x="870346" y="195955"/>
                  <a:pt x="862756" y="213937"/>
                </a:cubicBezTo>
                <a:cubicBezTo>
                  <a:pt x="852636" y="216505"/>
                  <a:pt x="834925" y="219074"/>
                  <a:pt x="817215" y="219074"/>
                </a:cubicBezTo>
                <a:cubicBezTo>
                  <a:pt x="759023" y="219074"/>
                  <a:pt x="728662" y="195955"/>
                  <a:pt x="728662" y="149715"/>
                </a:cubicBezTo>
                <a:cubicBezTo>
                  <a:pt x="728662" y="108614"/>
                  <a:pt x="759023" y="77787"/>
                  <a:pt x="809625" y="77787"/>
                </a:cubicBezTo>
                <a:close/>
                <a:moveTo>
                  <a:pt x="662197" y="77787"/>
                </a:moveTo>
                <a:cubicBezTo>
                  <a:pt x="687358" y="77787"/>
                  <a:pt x="707486" y="85494"/>
                  <a:pt x="717550" y="90632"/>
                </a:cubicBezTo>
                <a:cubicBezTo>
                  <a:pt x="717550" y="90632"/>
                  <a:pt x="717550" y="90632"/>
                  <a:pt x="707486" y="111182"/>
                </a:cubicBezTo>
                <a:cubicBezTo>
                  <a:pt x="707486" y="111182"/>
                  <a:pt x="707486" y="111182"/>
                  <a:pt x="704970" y="111182"/>
                </a:cubicBezTo>
                <a:cubicBezTo>
                  <a:pt x="697422" y="100907"/>
                  <a:pt x="682325" y="95769"/>
                  <a:pt x="664713" y="95769"/>
                </a:cubicBezTo>
                <a:cubicBezTo>
                  <a:pt x="637037" y="95769"/>
                  <a:pt x="614392" y="113751"/>
                  <a:pt x="614392" y="149715"/>
                </a:cubicBezTo>
                <a:cubicBezTo>
                  <a:pt x="614392" y="183110"/>
                  <a:pt x="637037" y="201092"/>
                  <a:pt x="664713" y="201092"/>
                </a:cubicBezTo>
                <a:cubicBezTo>
                  <a:pt x="677293" y="201092"/>
                  <a:pt x="687358" y="201092"/>
                  <a:pt x="699938" y="195955"/>
                </a:cubicBezTo>
                <a:cubicBezTo>
                  <a:pt x="702454" y="195955"/>
                  <a:pt x="702454" y="195955"/>
                  <a:pt x="702454" y="198523"/>
                </a:cubicBezTo>
                <a:cubicBezTo>
                  <a:pt x="702454" y="198523"/>
                  <a:pt x="702454" y="198523"/>
                  <a:pt x="692390" y="213937"/>
                </a:cubicBezTo>
                <a:cubicBezTo>
                  <a:pt x="682325" y="219074"/>
                  <a:pt x="674777" y="219074"/>
                  <a:pt x="662197" y="219074"/>
                </a:cubicBezTo>
                <a:cubicBezTo>
                  <a:pt x="611876" y="219074"/>
                  <a:pt x="584200" y="188248"/>
                  <a:pt x="584200" y="149715"/>
                </a:cubicBezTo>
                <a:cubicBezTo>
                  <a:pt x="584200" y="108614"/>
                  <a:pt x="611876" y="77787"/>
                  <a:pt x="662197" y="77787"/>
                </a:cubicBezTo>
                <a:close/>
                <a:moveTo>
                  <a:pt x="476249" y="77787"/>
                </a:moveTo>
                <a:cubicBezTo>
                  <a:pt x="534441" y="77787"/>
                  <a:pt x="557212" y="111182"/>
                  <a:pt x="557212" y="154853"/>
                </a:cubicBezTo>
                <a:cubicBezTo>
                  <a:pt x="557212" y="154853"/>
                  <a:pt x="557212" y="154853"/>
                  <a:pt x="557212" y="216505"/>
                </a:cubicBezTo>
                <a:cubicBezTo>
                  <a:pt x="557212" y="216505"/>
                  <a:pt x="557212" y="216505"/>
                  <a:pt x="554682" y="216505"/>
                </a:cubicBezTo>
                <a:cubicBezTo>
                  <a:pt x="554682" y="216505"/>
                  <a:pt x="554682" y="216505"/>
                  <a:pt x="526851" y="216505"/>
                </a:cubicBezTo>
                <a:cubicBezTo>
                  <a:pt x="526851" y="216505"/>
                  <a:pt x="524321" y="216505"/>
                  <a:pt x="524321" y="216505"/>
                </a:cubicBezTo>
                <a:cubicBezTo>
                  <a:pt x="524321" y="216505"/>
                  <a:pt x="524321" y="216505"/>
                  <a:pt x="524321" y="154853"/>
                </a:cubicBezTo>
                <a:cubicBezTo>
                  <a:pt x="524321" y="118889"/>
                  <a:pt x="514201" y="95769"/>
                  <a:pt x="476249" y="95769"/>
                </a:cubicBezTo>
                <a:cubicBezTo>
                  <a:pt x="445889" y="95769"/>
                  <a:pt x="428178" y="116320"/>
                  <a:pt x="428178" y="149715"/>
                </a:cubicBezTo>
                <a:cubicBezTo>
                  <a:pt x="428178" y="172835"/>
                  <a:pt x="438298" y="201092"/>
                  <a:pt x="473719" y="201092"/>
                </a:cubicBezTo>
                <a:cubicBezTo>
                  <a:pt x="483840" y="201092"/>
                  <a:pt x="491430" y="198523"/>
                  <a:pt x="499020" y="195955"/>
                </a:cubicBezTo>
                <a:cubicBezTo>
                  <a:pt x="499020" y="195955"/>
                  <a:pt x="501550" y="198523"/>
                  <a:pt x="501550" y="198523"/>
                </a:cubicBezTo>
                <a:cubicBezTo>
                  <a:pt x="501550" y="198523"/>
                  <a:pt x="501550" y="198523"/>
                  <a:pt x="496490" y="216505"/>
                </a:cubicBezTo>
                <a:cubicBezTo>
                  <a:pt x="488900" y="219074"/>
                  <a:pt x="481310" y="219074"/>
                  <a:pt x="471189" y="219074"/>
                </a:cubicBezTo>
                <a:cubicBezTo>
                  <a:pt x="418058" y="219074"/>
                  <a:pt x="395287" y="188248"/>
                  <a:pt x="395287" y="149715"/>
                </a:cubicBezTo>
                <a:cubicBezTo>
                  <a:pt x="395287" y="106045"/>
                  <a:pt x="428178" y="77787"/>
                  <a:pt x="476249" y="77787"/>
                </a:cubicBezTo>
                <a:close/>
                <a:moveTo>
                  <a:pt x="202627" y="77787"/>
                </a:moveTo>
                <a:cubicBezTo>
                  <a:pt x="257591" y="77787"/>
                  <a:pt x="282575" y="108614"/>
                  <a:pt x="282575" y="149715"/>
                </a:cubicBezTo>
                <a:cubicBezTo>
                  <a:pt x="282575" y="188248"/>
                  <a:pt x="255093" y="219074"/>
                  <a:pt x="200129" y="219074"/>
                </a:cubicBezTo>
                <a:cubicBezTo>
                  <a:pt x="167650" y="219074"/>
                  <a:pt x="145165" y="208799"/>
                  <a:pt x="130175" y="195955"/>
                </a:cubicBezTo>
                <a:cubicBezTo>
                  <a:pt x="130175" y="195955"/>
                  <a:pt x="130175" y="195955"/>
                  <a:pt x="145165" y="165128"/>
                </a:cubicBezTo>
                <a:cubicBezTo>
                  <a:pt x="145165" y="165128"/>
                  <a:pt x="147664" y="165128"/>
                  <a:pt x="147664" y="165128"/>
                </a:cubicBezTo>
                <a:cubicBezTo>
                  <a:pt x="155159" y="185679"/>
                  <a:pt x="172647" y="201092"/>
                  <a:pt x="200129" y="201092"/>
                </a:cubicBezTo>
                <a:cubicBezTo>
                  <a:pt x="230109" y="201092"/>
                  <a:pt x="250096" y="180541"/>
                  <a:pt x="250096" y="149715"/>
                </a:cubicBezTo>
                <a:cubicBezTo>
                  <a:pt x="250096" y="111182"/>
                  <a:pt x="230109" y="95769"/>
                  <a:pt x="202627" y="95769"/>
                </a:cubicBezTo>
                <a:cubicBezTo>
                  <a:pt x="190136" y="95769"/>
                  <a:pt x="182641" y="98338"/>
                  <a:pt x="175145" y="98338"/>
                </a:cubicBezTo>
                <a:cubicBezTo>
                  <a:pt x="172647" y="100907"/>
                  <a:pt x="170149" y="98338"/>
                  <a:pt x="172647" y="95769"/>
                </a:cubicBezTo>
                <a:cubicBezTo>
                  <a:pt x="172647" y="95769"/>
                  <a:pt x="172647" y="95769"/>
                  <a:pt x="180142" y="80356"/>
                </a:cubicBezTo>
                <a:cubicBezTo>
                  <a:pt x="187637" y="77787"/>
                  <a:pt x="195132" y="77787"/>
                  <a:pt x="202627" y="77787"/>
                </a:cubicBezTo>
                <a:close/>
                <a:moveTo>
                  <a:pt x="82446" y="77787"/>
                </a:moveTo>
                <a:cubicBezTo>
                  <a:pt x="112426" y="77787"/>
                  <a:pt x="137410" y="88063"/>
                  <a:pt x="152400" y="100907"/>
                </a:cubicBezTo>
                <a:cubicBezTo>
                  <a:pt x="152400" y="100907"/>
                  <a:pt x="152400" y="100907"/>
                  <a:pt x="137410" y="129164"/>
                </a:cubicBezTo>
                <a:cubicBezTo>
                  <a:pt x="137410" y="131733"/>
                  <a:pt x="134911" y="131733"/>
                  <a:pt x="132413" y="129164"/>
                </a:cubicBezTo>
                <a:cubicBezTo>
                  <a:pt x="127416" y="111182"/>
                  <a:pt x="109928" y="95769"/>
                  <a:pt x="82446" y="95769"/>
                </a:cubicBezTo>
                <a:cubicBezTo>
                  <a:pt x="52466" y="95769"/>
                  <a:pt x="32479" y="113751"/>
                  <a:pt x="32479" y="147146"/>
                </a:cubicBezTo>
                <a:cubicBezTo>
                  <a:pt x="32479" y="183110"/>
                  <a:pt x="52466" y="201092"/>
                  <a:pt x="79948" y="201092"/>
                </a:cubicBezTo>
                <a:cubicBezTo>
                  <a:pt x="92439" y="201092"/>
                  <a:pt x="99934" y="198523"/>
                  <a:pt x="107430" y="195955"/>
                </a:cubicBezTo>
                <a:cubicBezTo>
                  <a:pt x="109928" y="195955"/>
                  <a:pt x="109928" y="198523"/>
                  <a:pt x="109928" y="201092"/>
                </a:cubicBezTo>
                <a:cubicBezTo>
                  <a:pt x="109928" y="201092"/>
                  <a:pt x="109928" y="201092"/>
                  <a:pt x="102433" y="216505"/>
                </a:cubicBezTo>
                <a:cubicBezTo>
                  <a:pt x="94938" y="219074"/>
                  <a:pt x="87443" y="219074"/>
                  <a:pt x="79948" y="219074"/>
                </a:cubicBezTo>
                <a:cubicBezTo>
                  <a:pt x="24984" y="219074"/>
                  <a:pt x="0" y="185679"/>
                  <a:pt x="0" y="147146"/>
                </a:cubicBezTo>
                <a:cubicBezTo>
                  <a:pt x="0" y="108614"/>
                  <a:pt x="27482" y="77787"/>
                  <a:pt x="82446" y="77787"/>
                </a:cubicBezTo>
                <a:close/>
                <a:moveTo>
                  <a:pt x="385676" y="0"/>
                </a:moveTo>
                <a:cubicBezTo>
                  <a:pt x="403253" y="0"/>
                  <a:pt x="420831" y="5080"/>
                  <a:pt x="433387" y="10160"/>
                </a:cubicBezTo>
                <a:cubicBezTo>
                  <a:pt x="433387" y="10160"/>
                  <a:pt x="433387" y="10160"/>
                  <a:pt x="423342" y="30480"/>
                </a:cubicBezTo>
                <a:cubicBezTo>
                  <a:pt x="423342" y="30480"/>
                  <a:pt x="423342" y="30480"/>
                  <a:pt x="420831" y="30480"/>
                </a:cubicBezTo>
                <a:cubicBezTo>
                  <a:pt x="413298" y="22860"/>
                  <a:pt x="400742" y="17780"/>
                  <a:pt x="385676" y="17780"/>
                </a:cubicBezTo>
                <a:cubicBezTo>
                  <a:pt x="353031" y="17780"/>
                  <a:pt x="345498" y="40640"/>
                  <a:pt x="345498" y="63500"/>
                </a:cubicBezTo>
                <a:cubicBezTo>
                  <a:pt x="345498" y="63500"/>
                  <a:pt x="345498" y="63500"/>
                  <a:pt x="345498" y="83820"/>
                </a:cubicBezTo>
                <a:cubicBezTo>
                  <a:pt x="345498" y="83820"/>
                  <a:pt x="345498" y="83820"/>
                  <a:pt x="385676" y="83820"/>
                </a:cubicBezTo>
                <a:cubicBezTo>
                  <a:pt x="385676" y="83820"/>
                  <a:pt x="388187" y="83820"/>
                  <a:pt x="388187" y="86360"/>
                </a:cubicBezTo>
                <a:cubicBezTo>
                  <a:pt x="388187" y="86360"/>
                  <a:pt x="388187" y="86360"/>
                  <a:pt x="380653" y="96520"/>
                </a:cubicBezTo>
                <a:cubicBezTo>
                  <a:pt x="380653" y="99060"/>
                  <a:pt x="380653" y="99060"/>
                  <a:pt x="378142" y="99060"/>
                </a:cubicBezTo>
                <a:cubicBezTo>
                  <a:pt x="378142" y="99060"/>
                  <a:pt x="378142" y="99060"/>
                  <a:pt x="345498" y="99060"/>
                </a:cubicBezTo>
                <a:cubicBezTo>
                  <a:pt x="345498" y="99060"/>
                  <a:pt x="345498" y="99060"/>
                  <a:pt x="345498" y="215900"/>
                </a:cubicBezTo>
                <a:cubicBezTo>
                  <a:pt x="345498" y="215900"/>
                  <a:pt x="345498" y="215900"/>
                  <a:pt x="342986" y="215900"/>
                </a:cubicBezTo>
                <a:cubicBezTo>
                  <a:pt x="342986" y="215900"/>
                  <a:pt x="342986" y="215900"/>
                  <a:pt x="317875" y="215900"/>
                </a:cubicBezTo>
                <a:cubicBezTo>
                  <a:pt x="317875" y="215900"/>
                  <a:pt x="317875" y="215900"/>
                  <a:pt x="317875" y="99060"/>
                </a:cubicBezTo>
                <a:cubicBezTo>
                  <a:pt x="317875" y="99060"/>
                  <a:pt x="317875" y="99060"/>
                  <a:pt x="297786" y="99060"/>
                </a:cubicBezTo>
                <a:cubicBezTo>
                  <a:pt x="297786" y="99060"/>
                  <a:pt x="295275" y="99060"/>
                  <a:pt x="295275" y="96520"/>
                </a:cubicBezTo>
                <a:cubicBezTo>
                  <a:pt x="295275" y="96520"/>
                  <a:pt x="295275" y="96520"/>
                  <a:pt x="295275" y="86360"/>
                </a:cubicBezTo>
                <a:cubicBezTo>
                  <a:pt x="295275" y="83820"/>
                  <a:pt x="297786" y="83820"/>
                  <a:pt x="297786" y="83820"/>
                </a:cubicBezTo>
                <a:cubicBezTo>
                  <a:pt x="297786" y="83820"/>
                  <a:pt x="297786" y="83820"/>
                  <a:pt x="315364" y="83820"/>
                </a:cubicBezTo>
                <a:cubicBezTo>
                  <a:pt x="315364" y="83820"/>
                  <a:pt x="315364" y="83820"/>
                  <a:pt x="315364" y="68580"/>
                </a:cubicBezTo>
                <a:cubicBezTo>
                  <a:pt x="315364" y="22860"/>
                  <a:pt x="345498" y="0"/>
                  <a:pt x="385676" y="0"/>
                </a:cubicBezTo>
                <a:close/>
              </a:path>
            </a:pathLst>
          </a:custGeom>
          <a:solidFill>
            <a:srgbClr val="1C35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9571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  <p:sldLayoutId id="2147484051" r:id="rId14"/>
    <p:sldLayoutId id="2147484052" r:id="rId15"/>
    <p:sldLayoutId id="2147484053" r:id="rId16"/>
    <p:sldLayoutId id="2147484054" r:id="rId17"/>
    <p:sldLayoutId id="2147484055" r:id="rId18"/>
    <p:sldLayoutId id="2147484056" r:id="rId19"/>
    <p:sldLayoutId id="2147484057" r:id="rId20"/>
    <p:sldLayoutId id="2147484058" r:id="rId21"/>
    <p:sldLayoutId id="2147484059" r:id="rId2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Century Gothic" panose="020B0502020202020204" pitchFamily="34" charset="0"/>
        <a:buChar char=" "/>
        <a:defRPr sz="1800" b="1" kern="1200" cap="all" spc="300" baseline="0">
          <a:solidFill>
            <a:schemeClr val="bg2"/>
          </a:solidFill>
          <a:latin typeface="+mn-lt"/>
          <a:ea typeface="+mn-ea"/>
          <a:cs typeface="+mn-cs"/>
        </a:defRPr>
      </a:lvl1pPr>
      <a:lvl2pPr marL="45243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800" kern="1200">
          <a:solidFill>
            <a:schemeClr val="bg2"/>
          </a:solidFill>
          <a:latin typeface="+mn-lt"/>
          <a:ea typeface="+mn-ea"/>
          <a:cs typeface="+mn-cs"/>
        </a:defRPr>
      </a:lvl2pPr>
      <a:lvl3pPr marL="712788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98425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12557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Arial" panose="020B060402020202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3.emf"/><Relationship Id="rId2" Type="http://schemas.openxmlformats.org/officeDocument/2006/relationships/slideLayout" Target="../slideLayouts/slideLayout195.xml"/><Relationship Id="rId1" Type="http://schemas.openxmlformats.org/officeDocument/2006/relationships/tags" Target="../tags/tag259.xml"/><Relationship Id="rId6" Type="http://schemas.openxmlformats.org/officeDocument/2006/relationships/image" Target="../media/image3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5.emf"/><Relationship Id="rId2" Type="http://schemas.openxmlformats.org/officeDocument/2006/relationships/slideLayout" Target="../slideLayouts/slideLayout195.xml"/><Relationship Id="rId1" Type="http://schemas.openxmlformats.org/officeDocument/2006/relationships/tags" Target="../tags/tag260.xml"/><Relationship Id="rId6" Type="http://schemas.openxmlformats.org/officeDocument/2006/relationships/image" Target="../media/image3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5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2.xml"/><Relationship Id="rId4" Type="http://schemas.openxmlformats.org/officeDocument/2006/relationships/image" Target="../media/image1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oleObject" Target="../embeddings/oleObject255.bin"/><Relationship Id="rId1" Type="http://schemas.openxmlformats.org/officeDocument/2006/relationships/slideLayout" Target="../slideLayouts/slideLayout262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5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oleObject" Target="../embeddings/oleObject257.bin"/><Relationship Id="rId1" Type="http://schemas.openxmlformats.org/officeDocument/2006/relationships/slideLayout" Target="../slideLayouts/slideLayout262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5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2.xml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9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2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60.bin"/><Relationship Id="rId4" Type="http://schemas.openxmlformats.org/officeDocument/2006/relationships/image" Target="../media/image2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7.emf"/><Relationship Id="rId2" Type="http://schemas.openxmlformats.org/officeDocument/2006/relationships/slideLayout" Target="../slideLayouts/slideLayout195.xml"/><Relationship Id="rId1" Type="http://schemas.openxmlformats.org/officeDocument/2006/relationships/tags" Target="../tags/tag256.xml"/><Relationship Id="rId6" Type="http://schemas.openxmlformats.org/officeDocument/2006/relationships/image" Target="../media/image2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9.emf"/><Relationship Id="rId2" Type="http://schemas.openxmlformats.org/officeDocument/2006/relationships/slideLayout" Target="../slideLayouts/slideLayout195.xml"/><Relationship Id="rId1" Type="http://schemas.openxmlformats.org/officeDocument/2006/relationships/tags" Target="../tags/tag257.xml"/><Relationship Id="rId6" Type="http://schemas.openxmlformats.org/officeDocument/2006/relationships/image" Target="../media/image2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1.emf"/><Relationship Id="rId2" Type="http://schemas.openxmlformats.org/officeDocument/2006/relationships/slideLayout" Target="../slideLayouts/slideLayout195.xml"/><Relationship Id="rId1" Type="http://schemas.openxmlformats.org/officeDocument/2006/relationships/tags" Target="../tags/tag258.xml"/><Relationship Id="rId6" Type="http://schemas.openxmlformats.org/officeDocument/2006/relationships/image" Target="../media/image3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9FCDB20-0D5E-4811-9719-197D030BBA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460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2C500E2-D687-42CD-A56C-BE23AFCACF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01287" y="6126259"/>
            <a:ext cx="1989484" cy="360850"/>
          </a:xfrm>
        </p:spPr>
        <p:txBody>
          <a:bodyPr/>
          <a:lstStyle/>
          <a:p>
            <a:r>
              <a:rPr lang="en-GB" dirty="0"/>
              <a:t>09 </a:t>
            </a:r>
            <a:r>
              <a:rPr lang="en-GB" dirty="0" err="1"/>
              <a:t>april</a:t>
            </a:r>
            <a:r>
              <a:rPr lang="en-GB" dirty="0"/>
              <a:t> 2024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B302860-CB76-4587-94A3-453527236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876" y="2004834"/>
            <a:ext cx="10612271" cy="646331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Mapping South Africa's Path in 2024</a:t>
            </a:r>
            <a:endParaRPr lang="en-GB" dirty="0"/>
          </a:p>
        </p:txBody>
      </p:sp>
      <p:sp>
        <p:nvSpPr>
          <p:cNvPr id="7" name="ZoneTexte 6"/>
          <p:cNvSpPr txBox="1"/>
          <p:nvPr/>
        </p:nvSpPr>
        <p:spPr>
          <a:xfrm>
            <a:off x="273339" y="3502090"/>
            <a:ext cx="54459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chemeClr val="bg1"/>
                </a:solidFill>
              </a:rPr>
              <a:t>Aroni Chaudhuri –  Africa Economist</a:t>
            </a:r>
          </a:p>
        </p:txBody>
      </p:sp>
    </p:spTree>
    <p:extLst>
      <p:ext uri="{BB962C8B-B14F-4D97-AF65-F5344CB8AC3E}">
        <p14:creationId xmlns:p14="http://schemas.microsoft.com/office/powerpoint/2010/main" val="15582980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689156E4-9C44-4B4E-95DB-C8F590C182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689156E4-9C44-4B4E-95DB-C8F590C18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AC2EFB11-94F7-44A2-9A1E-41B136046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293" y="84163"/>
            <a:ext cx="10942471" cy="812530"/>
          </a:xfrm>
        </p:spPr>
        <p:txBody>
          <a:bodyPr vert="horz"/>
          <a:lstStyle/>
          <a:p>
            <a:r>
              <a:rPr lang="en-US" sz="2600" dirty="0"/>
              <a:t>South Africa: Rand to </a:t>
            </a:r>
            <a:r>
              <a:rPr lang="en-US" sz="2600" dirty="0">
                <a:solidFill>
                  <a:schemeClr val="tx2"/>
                </a:solidFill>
              </a:rPr>
              <a:t>remain weak</a:t>
            </a:r>
            <a:r>
              <a:rPr lang="en-US" sz="2600" dirty="0"/>
              <a:t>, financing needs </a:t>
            </a:r>
            <a:r>
              <a:rPr lang="en-US" sz="2600" dirty="0">
                <a:solidFill>
                  <a:schemeClr val="tx2"/>
                </a:solidFill>
              </a:rPr>
              <a:t>will increase 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40120A8-7DCA-AD43-EA8C-6854789A5C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624" y="1376911"/>
            <a:ext cx="5474208" cy="486156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29EBAD0-47C0-3E97-6464-0CFC406409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2170" y="1376911"/>
            <a:ext cx="5474208" cy="486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1045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CE2EC-1D9C-CDD4-0794-1CA08764DB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17F29A0B-6391-5EAD-F9FD-C51F283A87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689156E4-9C44-4B4E-95DB-C8F590C18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981E576B-1996-A581-0B62-DC22567E0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600" y="111665"/>
            <a:ext cx="10942471" cy="812530"/>
          </a:xfrm>
        </p:spPr>
        <p:txBody>
          <a:bodyPr vert="horz"/>
          <a:lstStyle/>
          <a:p>
            <a:r>
              <a:rPr lang="en-US" sz="2600" dirty="0"/>
              <a:t>South Africa: Public accounts </a:t>
            </a:r>
            <a:r>
              <a:rPr lang="en-US" sz="2600" dirty="0">
                <a:solidFill>
                  <a:schemeClr val="tx2"/>
                </a:solidFill>
              </a:rPr>
              <a:t>will remain under pressur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30399C04-D1FA-5C83-0293-6981060266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792" y="1543165"/>
            <a:ext cx="5474208" cy="486156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BCF793C-662D-DB0F-01CE-CA2F75C1F1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6132" y="1543165"/>
            <a:ext cx="5474208" cy="486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8910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Q&amp;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8817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529" y="177602"/>
            <a:ext cx="10674616" cy="812530"/>
          </a:xfrm>
        </p:spPr>
        <p:txBody>
          <a:bodyPr/>
          <a:lstStyle/>
          <a:p>
            <a:r>
              <a:rPr lang="en-GB" sz="2600" dirty="0">
                <a:solidFill>
                  <a:srgbClr val="0BB18F"/>
                </a:solidFill>
              </a:rPr>
              <a:t>Commodity </a:t>
            </a:r>
            <a:r>
              <a:rPr lang="en-GB" sz="2600" dirty="0">
                <a:solidFill>
                  <a:srgbClr val="1C355D"/>
                </a:solidFill>
              </a:rPr>
              <a:t>prices</a:t>
            </a:r>
            <a:r>
              <a:rPr lang="en-GB" sz="2600" dirty="0">
                <a:solidFill>
                  <a:srgbClr val="1C355E"/>
                </a:solidFill>
              </a:rPr>
              <a:t>: </a:t>
            </a:r>
            <a:r>
              <a:rPr lang="fr-FR" sz="2600" dirty="0"/>
              <a:t>back to </a:t>
            </a:r>
            <a:r>
              <a:rPr lang="fr-FR" sz="2600" dirty="0">
                <a:solidFill>
                  <a:srgbClr val="0BB18F"/>
                </a:solidFill>
              </a:rPr>
              <a:t>(new) normal</a:t>
            </a:r>
            <a:r>
              <a:rPr lang="fr-FR" sz="2600" dirty="0"/>
              <a:t> as </a:t>
            </a:r>
            <a:r>
              <a:rPr lang="en-US" sz="2600" dirty="0"/>
              <a:t>Concerns ABOUT DEMAND are outweighing supply fears, for now</a:t>
            </a: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F59016E-F615-B0A9-B672-9A63B1EC11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840" y="1506387"/>
            <a:ext cx="5474208" cy="486156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5241B53-910D-CBE2-810B-11A919B31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8837" y="1506387"/>
            <a:ext cx="5474208" cy="486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6863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529" y="169285"/>
            <a:ext cx="10612271" cy="812530"/>
          </a:xfrm>
        </p:spPr>
        <p:txBody>
          <a:bodyPr/>
          <a:lstStyle/>
          <a:p>
            <a:r>
              <a:rPr lang="fr-FR" sz="2600" dirty="0">
                <a:solidFill>
                  <a:srgbClr val="0BB18F"/>
                </a:solidFill>
              </a:rPr>
              <a:t>Inflation </a:t>
            </a:r>
            <a:r>
              <a:rPr lang="en-US" sz="2600" dirty="0">
                <a:solidFill>
                  <a:srgbClr val="1C355E"/>
                </a:solidFill>
              </a:rPr>
              <a:t>is </a:t>
            </a:r>
            <a:r>
              <a:rPr lang="en-US" sz="2600" dirty="0">
                <a:solidFill>
                  <a:schemeClr val="tx2"/>
                </a:solidFill>
              </a:rPr>
              <a:t>down</a:t>
            </a:r>
            <a:r>
              <a:rPr lang="en-US" sz="2600" dirty="0">
                <a:solidFill>
                  <a:srgbClr val="1C355E"/>
                </a:solidFill>
              </a:rPr>
              <a:t> (almost) everywhere but </a:t>
            </a:r>
            <a:r>
              <a:rPr lang="en-US" sz="2600" dirty="0">
                <a:solidFill>
                  <a:schemeClr val="tx2"/>
                </a:solidFill>
              </a:rPr>
              <a:t>the last mile is always the hardest</a:t>
            </a:r>
            <a:endParaRPr lang="fr-FR" dirty="0">
              <a:solidFill>
                <a:schemeClr val="tx2"/>
              </a:solidFill>
            </a:endParaRPr>
          </a:p>
        </p:txBody>
      </p:sp>
      <p:graphicFrame>
        <p:nvGraphicFramePr>
          <p:cNvPr id="6" name="Objet 5">
            <a:extLst>
              <a:ext uri="{FF2B5EF4-FFF2-40B4-BE49-F238E27FC236}">
                <a16:creationId xmlns:a16="http://schemas.microsoft.com/office/drawing/2014/main" id="{7F4F18B1-3CED-DABE-62A1-BE4B09A1830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75551" y="1473939"/>
          <a:ext cx="5472113" cy="4860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472408" imgH="4860175" progId="Mbnd.mbnd">
                  <p:embed/>
                </p:oleObj>
              </mc:Choice>
              <mc:Fallback>
                <p:oleObj name="Macrobond document" r:id="rId2" imgW="5472408" imgH="4860175" progId="Mbnd.mbnd">
                  <p:embed/>
                  <p:pic>
                    <p:nvPicPr>
                      <p:cNvPr id="6" name="Objet 5">
                        <a:extLst>
                          <a:ext uri="{FF2B5EF4-FFF2-40B4-BE49-F238E27FC236}">
                            <a16:creationId xmlns:a16="http://schemas.microsoft.com/office/drawing/2014/main" id="{7F4F18B1-3CED-DABE-62A1-BE4B09A18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75551" y="1473939"/>
                        <a:ext cx="5472113" cy="4860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AD11882D-8C10-CEFE-FFDF-4E93209197B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264275" y="1473938"/>
          <a:ext cx="5472113" cy="4860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472408" imgH="4860175" progId="Mbnd.mbnd">
                  <p:embed/>
                </p:oleObj>
              </mc:Choice>
              <mc:Fallback>
                <p:oleObj name="Macrobond document" r:id="rId4" imgW="5472408" imgH="4860175" progId="Mbnd.mbnd">
                  <p:embed/>
                  <p:pic>
                    <p:nvPicPr>
                      <p:cNvPr id="4" name="Objet 3">
                        <a:extLst>
                          <a:ext uri="{FF2B5EF4-FFF2-40B4-BE49-F238E27FC236}">
                            <a16:creationId xmlns:a16="http://schemas.microsoft.com/office/drawing/2014/main" id="{AD11882D-8C10-CEFE-FFDF-4E9320919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264275" y="1473938"/>
                        <a:ext cx="5472113" cy="4860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095090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954" y="345284"/>
            <a:ext cx="10612271" cy="452432"/>
          </a:xfrm>
        </p:spPr>
        <p:txBody>
          <a:bodyPr/>
          <a:lstStyle/>
          <a:p>
            <a:r>
              <a:rPr lang="fr-FR" sz="2600" dirty="0">
                <a:solidFill>
                  <a:srgbClr val="0BB18F"/>
                </a:solidFill>
              </a:rPr>
              <a:t>Monetary</a:t>
            </a:r>
            <a:r>
              <a:rPr lang="fr-FR" sz="2600" dirty="0"/>
              <a:t> </a:t>
            </a:r>
            <a:r>
              <a:rPr lang="fr-FR" sz="2600" dirty="0" err="1"/>
              <a:t>policies</a:t>
            </a:r>
            <a:r>
              <a:rPr lang="fr-FR" sz="2600" dirty="0"/>
              <a:t>: </a:t>
            </a:r>
            <a:r>
              <a:rPr lang="fr-FR" sz="2600" dirty="0">
                <a:solidFill>
                  <a:srgbClr val="1C355D"/>
                </a:solidFill>
              </a:rPr>
              <a:t>time to </a:t>
            </a:r>
            <a:r>
              <a:rPr lang="fr-FR" sz="2600" dirty="0">
                <a:solidFill>
                  <a:srgbClr val="0BB18F"/>
                </a:solidFill>
              </a:rPr>
              <a:t>pivot ?</a:t>
            </a:r>
            <a:endParaRPr lang="fr-FR" dirty="0">
              <a:solidFill>
                <a:schemeClr val="tx2"/>
              </a:solidFill>
            </a:endParaRPr>
          </a:p>
        </p:txBody>
      </p:sp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0EB0A0A9-B77F-BF14-5796-1296B90B852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12954" y="1425575"/>
          <a:ext cx="5472113" cy="4860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5472408" imgH="4860175" progId="Mbnd.mbnd">
                  <p:embed/>
                </p:oleObj>
              </mc:Choice>
              <mc:Fallback>
                <p:oleObj name="Macrobond document" r:id="rId2" imgW="5472408" imgH="4860175" progId="Mbnd.mbnd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0EB0A0A9-B77F-BF14-5796-1296B90B8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712954" y="1425575"/>
                        <a:ext cx="5472113" cy="4860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30889608-83BD-69DC-7016-223B5A9F99A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302375" y="1425575"/>
          <a:ext cx="5472113" cy="4860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4" imgW="5472408" imgH="4860175" progId="Mbnd.mbnd">
                  <p:embed/>
                </p:oleObj>
              </mc:Choice>
              <mc:Fallback>
                <p:oleObj name="Macrobond document" r:id="rId4" imgW="5472408" imgH="4860175" progId="Mbnd.mbnd">
                  <p:embed/>
                  <p:pic>
                    <p:nvPicPr>
                      <p:cNvPr id="4" name="Objet 3">
                        <a:extLst>
                          <a:ext uri="{FF2B5EF4-FFF2-40B4-BE49-F238E27FC236}">
                            <a16:creationId xmlns:a16="http://schemas.microsoft.com/office/drawing/2014/main" id="{30889608-83BD-69DC-7016-223B5A9F9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02375" y="1425575"/>
                        <a:ext cx="5472113" cy="4860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78883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9864" y="315601"/>
            <a:ext cx="10612271" cy="452432"/>
          </a:xfrm>
        </p:spPr>
        <p:txBody>
          <a:bodyPr/>
          <a:lstStyle/>
          <a:p>
            <a:r>
              <a:rPr lang="en-US" sz="2600" dirty="0"/>
              <a:t>Global </a:t>
            </a:r>
            <a:r>
              <a:rPr lang="en-US" sz="2600" dirty="0">
                <a:solidFill>
                  <a:schemeClr val="tx2"/>
                </a:solidFill>
              </a:rPr>
              <a:t>GDP growth </a:t>
            </a:r>
            <a:r>
              <a:rPr lang="en-US" sz="2600" dirty="0"/>
              <a:t>to keep decelerating in 20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lvl="0" indent="0">
              <a:lnSpc>
                <a:spcPct val="100000"/>
              </a:lnSpc>
              <a:buNone/>
            </a:pPr>
            <a:r>
              <a:rPr lang="fr-FR" dirty="0">
                <a:solidFill>
                  <a:srgbClr val="1C355E"/>
                </a:solidFill>
              </a:rPr>
              <a:t>Global GDP </a:t>
            </a:r>
            <a:r>
              <a:rPr lang="fr-FR" dirty="0" err="1">
                <a:solidFill>
                  <a:srgbClr val="1C355E"/>
                </a:solidFill>
              </a:rPr>
              <a:t>growth</a:t>
            </a:r>
            <a:endParaRPr lang="fr-FR" dirty="0">
              <a:solidFill>
                <a:srgbClr val="1C355E"/>
              </a:solidFill>
            </a:endParaRPr>
          </a:p>
          <a:p>
            <a:pPr marL="0" lvl="0" indent="0">
              <a:lnSpc>
                <a:spcPct val="100000"/>
              </a:lnSpc>
              <a:buNone/>
            </a:pPr>
            <a:r>
              <a:rPr lang="fr-FR" b="0" dirty="0">
                <a:solidFill>
                  <a:srgbClr val="1C355E"/>
                </a:solidFill>
              </a:rPr>
              <a:t>(</a:t>
            </a:r>
            <a:r>
              <a:rPr lang="fr-FR" b="0" dirty="0" err="1">
                <a:solidFill>
                  <a:srgbClr val="1C355E"/>
                </a:solidFill>
              </a:rPr>
              <a:t>YoY</a:t>
            </a:r>
            <a:r>
              <a:rPr lang="fr-FR" b="0" dirty="0">
                <a:solidFill>
                  <a:srgbClr val="1C355E"/>
                </a:solidFill>
              </a:rPr>
              <a:t>, %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b="1" dirty="0"/>
              <a:t>GDP </a:t>
            </a:r>
            <a:r>
              <a:rPr lang="fr-FR" b="1" dirty="0" err="1"/>
              <a:t>growth</a:t>
            </a:r>
            <a:br>
              <a:rPr lang="fr-FR" b="1" dirty="0"/>
            </a:br>
            <a:r>
              <a:rPr lang="fr-FR" dirty="0"/>
              <a:t>(</a:t>
            </a:r>
            <a:r>
              <a:rPr lang="fr-FR" dirty="0" err="1"/>
              <a:t>YoY</a:t>
            </a:r>
            <a:r>
              <a:rPr lang="fr-FR" dirty="0"/>
              <a:t>, %)</a:t>
            </a:r>
          </a:p>
        </p:txBody>
      </p:sp>
      <p:sp>
        <p:nvSpPr>
          <p:cNvPr id="9" name="ZoneTexte 2"/>
          <p:cNvSpPr txBox="1"/>
          <p:nvPr/>
        </p:nvSpPr>
        <p:spPr>
          <a:xfrm>
            <a:off x="418031" y="6311567"/>
            <a:ext cx="23066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941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COFACE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941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ecast</a:t>
            </a: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2941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fr-FR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2941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stream</a:t>
            </a: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srgbClr val="2941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Espace réservé du contenu 6">
            <a:extLst>
              <a:ext uri="{FF2B5EF4-FFF2-40B4-BE49-F238E27FC236}">
                <a16:creationId xmlns:a16="http://schemas.microsoft.com/office/drawing/2014/main" id="{FBBFCB55-BA0D-C853-F109-CAD2C4C2E2CC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417270" y="2093913"/>
            <a:ext cx="5469423" cy="4138612"/>
          </a:xfrm>
          <a:prstGeom prst="rect">
            <a:avLst/>
          </a:prstGeom>
        </p:spPr>
      </p:pic>
      <p:pic>
        <p:nvPicPr>
          <p:cNvPr id="11" name="Espace réservé du contenu 10">
            <a:extLst>
              <a:ext uri="{FF2B5EF4-FFF2-40B4-BE49-F238E27FC236}">
                <a16:creationId xmlns:a16="http://schemas.microsoft.com/office/drawing/2014/main" id="{1C309C21-8621-14FC-DDEE-9DCC3A244745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4"/>
          <a:stretch>
            <a:fillRect/>
          </a:stretch>
        </p:blipFill>
        <p:spPr>
          <a:xfrm>
            <a:off x="6310086" y="2093913"/>
            <a:ext cx="5459866" cy="41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6089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8155" y="295473"/>
            <a:ext cx="10612271" cy="452432"/>
          </a:xfrm>
        </p:spPr>
        <p:txBody>
          <a:bodyPr/>
          <a:lstStyle/>
          <a:p>
            <a:r>
              <a:rPr lang="en-US" sz="2600" dirty="0"/>
              <a:t>DISAPPOINTING - AND ALREADY OVER - RECOVERY IN </a:t>
            </a:r>
            <a:r>
              <a:rPr lang="en-US" sz="2600" dirty="0">
                <a:solidFill>
                  <a:schemeClr val="tx2"/>
                </a:solidFill>
              </a:rPr>
              <a:t>CHINA</a:t>
            </a:r>
            <a:endParaRPr lang="fr-FR" sz="2600" dirty="0">
              <a:solidFill>
                <a:schemeClr val="tx2"/>
              </a:solidFill>
            </a:endParaRPr>
          </a:p>
        </p:txBody>
      </p:sp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6C40F4C5-73CD-F9ED-C9A0-2EA6101428B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27555" y="1475385"/>
          <a:ext cx="5472113" cy="4860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5472408" imgH="4860175" progId="Mbnd.mbnd">
                  <p:embed/>
                </p:oleObj>
              </mc:Choice>
              <mc:Fallback>
                <p:oleObj name="Macrobond document" r:id="rId3" imgW="5472408" imgH="4860175" progId="Mbnd.mbnd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6C40F4C5-73CD-F9ED-C9A0-2EA610142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7555" y="1475385"/>
                        <a:ext cx="5472113" cy="4860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B899D2BD-6BB7-ADB8-9CBA-1F5A03E8EA1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096000" y="1475386"/>
          <a:ext cx="5472113" cy="4860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5" imgW="5472408" imgH="4860175" progId="Mbnd.mbnd">
                  <p:embed/>
                </p:oleObj>
              </mc:Choice>
              <mc:Fallback>
                <p:oleObj name="Macrobond document" r:id="rId5" imgW="5472408" imgH="4860175" progId="Mbnd.mbnd">
                  <p:embed/>
                  <p:pic>
                    <p:nvPicPr>
                      <p:cNvPr id="4" name="Objet 3">
                        <a:extLst>
                          <a:ext uri="{FF2B5EF4-FFF2-40B4-BE49-F238E27FC236}">
                            <a16:creationId xmlns:a16="http://schemas.microsoft.com/office/drawing/2014/main" id="{B899D2BD-6BB7-ADB8-9CBA-1F5A03E8E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096000" y="1475386"/>
                        <a:ext cx="5472113" cy="4860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482836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689156E4-9C44-4B4E-95DB-C8F590C182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689156E4-9C44-4B4E-95DB-C8F590C18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AC2EFB11-94F7-44A2-9A1E-41B136046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292" y="83955"/>
            <a:ext cx="10942471" cy="812530"/>
          </a:xfrm>
        </p:spPr>
        <p:txBody>
          <a:bodyPr vert="horz"/>
          <a:lstStyle/>
          <a:p>
            <a:r>
              <a:rPr lang="en-US" sz="2600" dirty="0"/>
              <a:t>South Africa: Election results will influence </a:t>
            </a:r>
            <a:r>
              <a:rPr lang="en-US" sz="2600" dirty="0">
                <a:solidFill>
                  <a:schemeClr val="tx2"/>
                </a:solidFill>
              </a:rPr>
              <a:t>the capacity to govern efficiently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C15A9654-AC9A-FCC1-5FE8-60D1556733DA}"/>
              </a:ext>
            </a:extLst>
          </p:cNvPr>
          <p:cNvSpPr txBox="1"/>
          <p:nvPr/>
        </p:nvSpPr>
        <p:spPr>
          <a:xfrm>
            <a:off x="360220" y="1503452"/>
            <a:ext cx="59699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bg2"/>
                </a:solidFill>
              </a:rPr>
              <a:t>Party choices of South Africans registered to vote in 2024 elections </a:t>
            </a:r>
          </a:p>
          <a:p>
            <a:pPr algn="ctr"/>
            <a:r>
              <a:rPr lang="en-GB" sz="1400" dirty="0">
                <a:solidFill>
                  <a:schemeClr val="bg2"/>
                </a:solidFill>
              </a:rPr>
              <a:t>(poll conducted between October and December 2023)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CE34EFBA-1D11-4851-31A4-81048A7911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9320" y="2233929"/>
            <a:ext cx="5474208" cy="4015740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08FD4A53-5375-FFF0-97D6-1F64F484720A}"/>
              </a:ext>
            </a:extLst>
          </p:cNvPr>
          <p:cNvSpPr txBox="1"/>
          <p:nvPr/>
        </p:nvSpPr>
        <p:spPr>
          <a:xfrm>
            <a:off x="4553880" y="6313324"/>
            <a:ext cx="15421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00" i="1" dirty="0">
                <a:solidFill>
                  <a:schemeClr val="bg2"/>
                </a:solidFill>
              </a:rPr>
              <a:t>Sources: Ipsos, Coface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D26BC4A-061C-D6D8-E9CC-418B42969B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73151" y="2081025"/>
            <a:ext cx="5474208" cy="4142232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DFCE85A3-5350-409A-3F88-FDFA99BC778A}"/>
              </a:ext>
            </a:extLst>
          </p:cNvPr>
          <p:cNvSpPr txBox="1"/>
          <p:nvPr/>
        </p:nvSpPr>
        <p:spPr>
          <a:xfrm>
            <a:off x="6203527" y="1511638"/>
            <a:ext cx="59699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bg2"/>
                </a:solidFill>
              </a:rPr>
              <a:t>Potential political party support after election results</a:t>
            </a:r>
            <a:endParaRPr lang="en-GB" sz="1400" dirty="0">
              <a:solidFill>
                <a:schemeClr val="bg2"/>
              </a:solidFill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24471DBB-5263-CC6B-4756-51307C4A85C2}"/>
              </a:ext>
            </a:extLst>
          </p:cNvPr>
          <p:cNvSpPr txBox="1"/>
          <p:nvPr/>
        </p:nvSpPr>
        <p:spPr>
          <a:xfrm>
            <a:off x="10268755" y="6249669"/>
            <a:ext cx="176048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00" i="1" dirty="0">
                <a:solidFill>
                  <a:schemeClr val="bg2"/>
                </a:solidFill>
              </a:rPr>
              <a:t>Sources: Ipsos, Signum, Coface</a:t>
            </a:r>
          </a:p>
        </p:txBody>
      </p:sp>
    </p:spTree>
    <p:extLst>
      <p:ext uri="{BB962C8B-B14F-4D97-AF65-F5344CB8AC3E}">
        <p14:creationId xmlns:p14="http://schemas.microsoft.com/office/powerpoint/2010/main" val="726212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4BB3B5-4821-1295-DD5B-A770B549CD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64FB56B6-9DA9-748B-08D7-F375F033CB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689156E4-9C44-4B4E-95DB-C8F590C18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B3E8B684-94C5-307B-C911-B251E1BE7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293" y="120901"/>
            <a:ext cx="10942471" cy="812530"/>
          </a:xfrm>
        </p:spPr>
        <p:txBody>
          <a:bodyPr vert="horz"/>
          <a:lstStyle/>
          <a:p>
            <a:r>
              <a:rPr lang="en-US" sz="2600" dirty="0"/>
              <a:t>South Africa: growth Outlook still somewhat stable</a:t>
            </a:r>
            <a:r>
              <a:rPr lang="en-US" sz="2600" dirty="0">
                <a:solidFill>
                  <a:schemeClr val="tx2"/>
                </a:solidFill>
              </a:rPr>
              <a:t>, but constraints remain significant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3993298-7FB0-6C4D-56FB-F5FCBF88A1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792" y="1330729"/>
            <a:ext cx="5474208" cy="486156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098B6EB-EC45-629E-85AC-26D757FA83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24607" y="1265109"/>
            <a:ext cx="5475732" cy="486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6923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A0D5CC-6830-36D4-1874-604ACF32A4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D8F28210-7701-83B1-4AA8-47DF9B2BA5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689156E4-9C44-4B4E-95DB-C8F590C182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re 3">
            <a:extLst>
              <a:ext uri="{FF2B5EF4-FFF2-40B4-BE49-F238E27FC236}">
                <a16:creationId xmlns:a16="http://schemas.microsoft.com/office/drawing/2014/main" id="{C9F3173F-B746-7B4B-86BA-2DCB4F41F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293" y="120901"/>
            <a:ext cx="10942471" cy="812530"/>
          </a:xfrm>
        </p:spPr>
        <p:txBody>
          <a:bodyPr vert="horz"/>
          <a:lstStyle/>
          <a:p>
            <a:r>
              <a:rPr lang="en-US" sz="2600" dirty="0"/>
              <a:t>South Africa: </a:t>
            </a:r>
            <a:r>
              <a:rPr lang="en-US" sz="2600" dirty="0">
                <a:solidFill>
                  <a:schemeClr val="tx2"/>
                </a:solidFill>
              </a:rPr>
              <a:t>sticky inflation and high unemployment </a:t>
            </a:r>
            <a:r>
              <a:rPr lang="en-US" sz="2600" dirty="0"/>
              <a:t>continue to weigh on households</a:t>
            </a:r>
            <a:endParaRPr lang="en-US" sz="2600" dirty="0">
              <a:solidFill>
                <a:schemeClr val="tx2"/>
              </a:solidFill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F519386-6B7B-90AF-B180-E185BA1EDB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0713" y="1552401"/>
            <a:ext cx="5474208" cy="486156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BF170F42-7491-522D-925F-B1DA81E2D5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7079" y="1552401"/>
            <a:ext cx="5474208" cy="486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22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face-2021.pptx [Lecture seule]" id="{6714E27A-8DCF-41C2-AEDC-C0F538D290A9}" vid="{68700BDF-522E-40F4-8895-A10341AB7089}"/>
    </a:ext>
  </a:extLst>
</a:theme>
</file>

<file path=ppt/theme/theme11.xml><?xml version="1.0" encoding="utf-8"?>
<a:theme xmlns:a="http://schemas.openxmlformats.org/drawingml/2006/main" name="10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face-2021.pptx [Lecture seule]" id="{6714E27A-8DCF-41C2-AEDC-C0F538D290A9}" vid="{68700BDF-522E-40F4-8895-A10341AB7089}"/>
    </a:ext>
  </a:extLst>
</a:theme>
</file>

<file path=ppt/theme/theme4.xml><?xml version="1.0" encoding="utf-8"?>
<a:theme xmlns:a="http://schemas.openxmlformats.org/drawingml/2006/main" name="3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oface-2021.pptx [Lecture seule]" id="{6714E27A-8DCF-41C2-AEDC-C0F538D290A9}" vid="{68700BDF-522E-40F4-8895-A10341AB7089}"/>
    </a:ext>
  </a:extLst>
</a:theme>
</file>

<file path=ppt/theme/theme6.xml><?xml version="1.0" encoding="utf-8"?>
<a:theme xmlns:a="http://schemas.openxmlformats.org/drawingml/2006/main" name="6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11117 1846 Coface - Template" id="{3BE3D83A-46A8-4FBD-8F3C-A84B89D14425}" vid="{0E387538-2447-45D7-84E3-C5643DA9A491}"/>
    </a:ext>
  </a:extLst>
</a:theme>
</file>

<file path=ppt/theme/theme7.xml><?xml version="1.0" encoding="utf-8"?>
<a:theme xmlns:a="http://schemas.openxmlformats.org/drawingml/2006/main" name="7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8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9_Coface - Template">
  <a:themeElements>
    <a:clrScheme name="COFACE">
      <a:dk1>
        <a:sysClr val="windowText" lastClr="000000"/>
      </a:dk1>
      <a:lt1>
        <a:sysClr val="window" lastClr="FFFFFF"/>
      </a:lt1>
      <a:dk2>
        <a:srgbClr val="0BB18F"/>
      </a:dk2>
      <a:lt2>
        <a:srgbClr val="1C355E"/>
      </a:lt2>
      <a:accent1>
        <a:srgbClr val="1226AA"/>
      </a:accent1>
      <a:accent2>
        <a:srgbClr val="5FD1E0"/>
      </a:accent2>
      <a:accent3>
        <a:srgbClr val="00A19C"/>
      </a:accent3>
      <a:accent4>
        <a:srgbClr val="6CDBD6"/>
      </a:accent4>
      <a:accent5>
        <a:srgbClr val="3BD4AE"/>
      </a:accent5>
      <a:accent6>
        <a:srgbClr val="E81F76"/>
      </a:accent6>
      <a:hlink>
        <a:srgbClr val="C028B9"/>
      </a:hlink>
      <a:folHlink>
        <a:srgbClr val="5C0F8B"/>
      </a:folHlink>
    </a:clrScheme>
    <a:fontScheme name="Cofa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82</TotalTime>
  <Words>203</Words>
  <Application>Microsoft Office PowerPoint</Application>
  <PresentationFormat>Grand écran</PresentationFormat>
  <Paragraphs>32</Paragraphs>
  <Slides>12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2</vt:i4>
      </vt:variant>
    </vt:vector>
  </HeadingPairs>
  <TitlesOfParts>
    <vt:vector size="28" baseType="lpstr">
      <vt:lpstr>Arial</vt:lpstr>
      <vt:lpstr>Calibri</vt:lpstr>
      <vt:lpstr>Century Gothic</vt:lpstr>
      <vt:lpstr>Coface - Template</vt:lpstr>
      <vt:lpstr>1_Coface - Template</vt:lpstr>
      <vt:lpstr>2_Coface - Template</vt:lpstr>
      <vt:lpstr>3_Coface - Template</vt:lpstr>
      <vt:lpstr>4_Coface - Template</vt:lpstr>
      <vt:lpstr>6_Coface - Template</vt:lpstr>
      <vt:lpstr>7_Coface - Template</vt:lpstr>
      <vt:lpstr>8_Coface - Template</vt:lpstr>
      <vt:lpstr>9_Coface - Template</vt:lpstr>
      <vt:lpstr>5_Coface - Template</vt:lpstr>
      <vt:lpstr>10_Coface - Template</vt:lpstr>
      <vt:lpstr>Diapositive think-cell</vt:lpstr>
      <vt:lpstr>Macrobond document</vt:lpstr>
      <vt:lpstr>Mapping South Africa's Path in 2024</vt:lpstr>
      <vt:lpstr>Commodity prices: back to (new) normal as Concerns ABOUT DEMAND are outweighing supply fears, for now</vt:lpstr>
      <vt:lpstr>Inflation is down (almost) everywhere but the last mile is always the hardest</vt:lpstr>
      <vt:lpstr>Monetary policies: time to pivot ?</vt:lpstr>
      <vt:lpstr>Global GDP growth to keep decelerating in 2024</vt:lpstr>
      <vt:lpstr>DISAPPOINTING - AND ALREADY OVER - RECOVERY IN CHINA</vt:lpstr>
      <vt:lpstr>South Africa: Election results will influence the capacity to govern efficiently</vt:lpstr>
      <vt:lpstr>South Africa: growth Outlook still somewhat stable, but constraints remain significant</vt:lpstr>
      <vt:lpstr>South Africa: sticky inflation and high unemployment continue to weigh on households</vt:lpstr>
      <vt:lpstr>South Africa: Rand to remain weak, financing needs will increase </vt:lpstr>
      <vt:lpstr>South Africa: Public accounts will remain under pressure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La boite à slides</dc:creator>
  <cp:lastModifiedBy>CHAUDHURI Aroni</cp:lastModifiedBy>
  <cp:revision>1053</cp:revision>
  <dcterms:created xsi:type="dcterms:W3CDTF">2021-08-17T13:18:16Z</dcterms:created>
  <dcterms:modified xsi:type="dcterms:W3CDTF">2024-04-09T08:41:59Z</dcterms:modified>
</cp:coreProperties>
</file>